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4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5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9" r:id="rId4"/>
    <p:sldMasterId id="2147483765" r:id="rId5"/>
    <p:sldMasterId id="2147483890" r:id="rId6"/>
    <p:sldMasterId id="2147483995" r:id="rId7"/>
    <p:sldMasterId id="2147484018" r:id="rId8"/>
    <p:sldMasterId id="2147484049" r:id="rId9"/>
  </p:sldMasterIdLst>
  <p:notesMasterIdLst>
    <p:notesMasterId r:id="rId14"/>
  </p:notesMasterIdLst>
  <p:sldIdLst>
    <p:sldId id="486" r:id="rId10"/>
    <p:sldId id="487" r:id="rId11"/>
    <p:sldId id="646" r:id="rId12"/>
    <p:sldId id="443" r:id="rId13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imary Slides" id="{1898F32E-278E-454C-96C1-020117EE7CB3}">
          <p14:sldIdLst>
            <p14:sldId id="486"/>
            <p14:sldId id="487"/>
            <p14:sldId id="646"/>
            <p14:sldId id="4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hir Noorani" initials="ZN" lastIdx="13" clrIdx="0">
    <p:extLst>
      <p:ext uri="{19B8F6BF-5375-455C-9EA6-DF929625EA0E}">
        <p15:presenceInfo xmlns:p15="http://schemas.microsoft.com/office/powerpoint/2012/main" userId="S-1-5-21-915244404-3738584754-2979465137-7207" providerId="AD"/>
      </p:ext>
    </p:extLst>
  </p:cmAuthor>
  <p:cmAuthor id="2" name="Jeffrey Dunford" initials="JD" lastIdx="11" clrIdx="1">
    <p:extLst>
      <p:ext uri="{19B8F6BF-5375-455C-9EA6-DF929625EA0E}">
        <p15:presenceInfo xmlns:p15="http://schemas.microsoft.com/office/powerpoint/2012/main" userId="S-1-5-21-915244404-3738584754-2979465137-2162" providerId="AD"/>
      </p:ext>
    </p:extLst>
  </p:cmAuthor>
  <p:cmAuthor id="3" name="Jason Wolfe" initials="JW" lastIdx="1" clrIdx="2">
    <p:extLst>
      <p:ext uri="{19B8F6BF-5375-455C-9EA6-DF929625EA0E}">
        <p15:presenceInfo xmlns:p15="http://schemas.microsoft.com/office/powerpoint/2012/main" userId="S::jason.wolfe@appsassociates.com::3d5aaee4-2e4f-4322-8add-9209af60cc5c" providerId="AD"/>
      </p:ext>
    </p:extLst>
  </p:cmAuthor>
  <p:cmAuthor id="4" name="Zahir Noorani" initials="ZN [2]" lastIdx="1" clrIdx="3">
    <p:extLst>
      <p:ext uri="{19B8F6BF-5375-455C-9EA6-DF929625EA0E}">
        <p15:presenceInfo xmlns:p15="http://schemas.microsoft.com/office/powerpoint/2012/main" userId="Zahir Noorani" providerId="None"/>
      </p:ext>
    </p:extLst>
  </p:cmAuthor>
  <p:cmAuthor id="5" name="Carla Roddy" initials="CR" lastIdx="4" clrIdx="4">
    <p:extLst>
      <p:ext uri="{19B8F6BF-5375-455C-9EA6-DF929625EA0E}">
        <p15:presenceInfo xmlns:p15="http://schemas.microsoft.com/office/powerpoint/2012/main" userId="S-1-5-21-915244404-3738584754-2979465137-47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EBDE3"/>
    <a:srgbClr val="949DA5"/>
    <a:srgbClr val="4A9ED6"/>
    <a:srgbClr val="20303E"/>
    <a:srgbClr val="4F81BD"/>
    <a:srgbClr val="8EB4E3"/>
    <a:srgbClr val="0063AC"/>
    <a:srgbClr val="3941EB"/>
    <a:srgbClr val="AEAC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1ED555-47B1-088A-49AE-84726D001FA1}" v="4" dt="2025-07-31T18:49:09.536"/>
    <p1510:client id="{7900C6A0-4458-406F-9FFE-23B836C1459A}" v="5" dt="2025-07-31T18:17:52.837"/>
    <p1510:client id="{AE5CE6A6-AC6B-460A-44E8-D739DD00CCA3}" v="1" dt="2025-07-31T18:51:00.1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966" y="6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BD3A88-2BE9-4C1D-BE7A-504C825AEBA2}" type="datetimeFigureOut">
              <a:rPr lang="en-PH" smtClean="0"/>
              <a:t>12/11/2025</a:t>
            </a:fld>
            <a:endParaRPr lang="en-P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E5F6BF-8820-4499-BB19-0BE02AC496CD}" type="slidenum">
              <a:rPr lang="en-PH" smtClean="0"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23732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E5F6BF-8820-4499-BB19-0BE02AC496CD}" type="slidenum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032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E5F6BF-8820-4499-BB19-0BE02AC496CD}" type="slidenum">
              <a:rPr lang="en-PH" smtClean="0"/>
              <a:t>2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577965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E5F6BF-8820-4499-BB19-0BE02AC496CD}" type="slidenum">
              <a:rPr lang="en-PH" smtClean="0"/>
              <a:t>4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4142779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8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18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V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0221" y="2036887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6E0CA9-9701-E44D-BD2B-38D304563738}"/>
              </a:ext>
            </a:extLst>
          </p:cNvPr>
          <p:cNvSpPr/>
          <p:nvPr userDrawn="1"/>
        </p:nvSpPr>
        <p:spPr>
          <a:xfrm flipV="1">
            <a:off x="280220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8AEF12-0684-844C-9BCC-15E9BD109D8E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970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0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6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1DDB456-F4F0-C24C-9DB5-55635BBDC2D6}"/>
              </a:ext>
            </a:extLst>
          </p:cNvPr>
          <p:cNvSpPr txBox="1">
            <a:spLocks/>
          </p:cNvSpPr>
          <p:nvPr userDrawn="1"/>
        </p:nvSpPr>
        <p:spPr>
          <a:xfrm>
            <a:off x="7429959" y="4659682"/>
            <a:ext cx="1626955" cy="3428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pril 24, 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04683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F8FEB8A-46A6-8B40-89D1-2CEA1D3C0A62}"/>
              </a:ext>
            </a:extLst>
          </p:cNvPr>
          <p:cNvSpPr/>
          <p:nvPr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4" y="1091382"/>
            <a:ext cx="5979503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79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2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C3CBC-9FB3-B847-9003-2E4206ADAC8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61505D-683C-0D44-8CFE-BC5F5D12924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9628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6DC04E6-2BBA-954A-8681-11D25E55E14B}"/>
              </a:ext>
            </a:extLst>
          </p:cNvPr>
          <p:cNvSpPr/>
          <p:nvPr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35AA6-1741-D84A-9924-9F43F9EF8B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4905E6DB-0990-F043-8088-06395F7953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364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5C56F7-249F-ED43-8344-EB7A4A8E120B}"/>
              </a:ext>
            </a:extLst>
          </p:cNvPr>
          <p:cNvSpPr/>
          <p:nvPr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727F0A-432F-B04D-80B9-C482F377F8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1D4E5D6-DB3D-504B-8D90-A48B1863B0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05077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6C56AEFC-EFED-DA4F-B05E-9D986D8DD603}"/>
              </a:ext>
            </a:extLst>
          </p:cNvPr>
          <p:cNvSpPr/>
          <p:nvPr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7" y="1725644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5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5" y="3158765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8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5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5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4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1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1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5" y="1699748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2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2" y="3132869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4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4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4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618F6-CDD5-2F45-990B-F206C90CC6BA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54EBC3-4AC4-DE44-AABF-1DF0F09CCE3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67920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1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/>
        </p:nvSpPr>
        <p:spPr>
          <a:xfrm flipV="1">
            <a:off x="280221" y="1395407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88298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-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7" name="Title 15">
            <a:extLst>
              <a:ext uri="{FF2B5EF4-FFF2-40B4-BE49-F238E27FC236}">
                <a16:creationId xmlns:a16="http://schemas.microsoft.com/office/drawing/2014/main" id="{A6DB194C-D94D-454C-AA03-059EDA06E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37365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-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47FDCF11-6B39-A445-8A7D-7ECB0250DE18}"/>
              </a:ext>
            </a:extLst>
          </p:cNvPr>
          <p:cNvSpPr txBox="1">
            <a:spLocks/>
          </p:cNvSpPr>
          <p:nvPr/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360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0491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-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A3B3B77D-5279-2343-B4EF-51FE7CF25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3867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-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-1" y="0"/>
            <a:ext cx="5964573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3" name="Title 15">
            <a:extLst>
              <a:ext uri="{FF2B5EF4-FFF2-40B4-BE49-F238E27FC236}">
                <a16:creationId xmlns:a16="http://schemas.microsoft.com/office/drawing/2014/main" id="{1D9389B5-71BD-8C4B-934A-392DEA674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7088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-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-1" y="0"/>
            <a:ext cx="914400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FFEFAC7-43B3-A848-9DE4-D8C41BCE9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443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  <p:sp>
        <p:nvSpPr>
          <p:cNvPr id="17" name="Title 15">
            <a:extLst>
              <a:ext uri="{FF2B5EF4-FFF2-40B4-BE49-F238E27FC236}">
                <a16:creationId xmlns:a16="http://schemas.microsoft.com/office/drawing/2014/main" id="{A6DB194C-D94D-454C-AA03-059EDA06E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138939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-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-1" y="0"/>
            <a:ext cx="540251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2CE8942-2E2F-D443-BEED-4B53E3A95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6783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-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5">
            <a:extLst>
              <a:ext uri="{FF2B5EF4-FFF2-40B4-BE49-F238E27FC236}">
                <a16:creationId xmlns:a16="http://schemas.microsoft.com/office/drawing/2014/main" id="{671B0571-BD52-C24A-9AEF-590AE38CD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897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 with Image - 1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5409" y="0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5474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1" y="0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14840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500" y="1445641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/>
        </p:nvSpPr>
        <p:spPr>
          <a:xfrm>
            <a:off x="0" y="4210493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7" y="4398104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73992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reaker Slide -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EEDBF5E-DFDB-1946-8078-096F1C0865C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itle 15">
            <a:extLst>
              <a:ext uri="{FF2B5EF4-FFF2-40B4-BE49-F238E27FC236}">
                <a16:creationId xmlns:a16="http://schemas.microsoft.com/office/drawing/2014/main" id="{A6DB194C-D94D-454C-AA03-059EDA06E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52396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reaker Slide -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EC3FE50-DAF9-EC48-B048-477B90C44ED6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5">
            <a:extLst>
              <a:ext uri="{FF2B5EF4-FFF2-40B4-BE49-F238E27FC236}">
                <a16:creationId xmlns:a16="http://schemas.microsoft.com/office/drawing/2014/main" id="{FB48BC91-BE3A-DC49-886A-0B4D4ECB6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8372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reaker Slide -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E887F7A-B7D6-4444-8A7E-FAF197ED65C4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5">
            <a:extLst>
              <a:ext uri="{FF2B5EF4-FFF2-40B4-BE49-F238E27FC236}">
                <a16:creationId xmlns:a16="http://schemas.microsoft.com/office/drawing/2014/main" id="{433E6342-F9EB-8349-B441-CAFF35D1A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35775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reaker Slide -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-1" y="0"/>
            <a:ext cx="5964573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DA11B5C-296D-AF45-A539-559BD67ACE8E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8E325C40-C8DE-5E4E-9DA8-B885E4974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97310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reaker Slide -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-1" y="0"/>
            <a:ext cx="914400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F763F8B-9B20-EC4C-AA52-4400BDAD29F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5">
            <a:extLst>
              <a:ext uri="{FF2B5EF4-FFF2-40B4-BE49-F238E27FC236}">
                <a16:creationId xmlns:a16="http://schemas.microsoft.com/office/drawing/2014/main" id="{F2DFFED0-6BD9-054B-B118-355F234F8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077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47FDCF11-6B39-A445-8A7D-7ECB0250DE18}"/>
              </a:ext>
            </a:extLst>
          </p:cNvPr>
          <p:cNvSpPr txBox="1">
            <a:spLocks/>
          </p:cNvSpPr>
          <p:nvPr userDrawn="1"/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8316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reaker Slide -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/>
        </p:nvSpPr>
        <p:spPr>
          <a:xfrm>
            <a:off x="-1" y="0"/>
            <a:ext cx="540251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D4B7C9B-1BC8-BF42-A435-F06CB2B8A7B5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5">
            <a:extLst>
              <a:ext uri="{FF2B5EF4-FFF2-40B4-BE49-F238E27FC236}">
                <a16:creationId xmlns:a16="http://schemas.microsoft.com/office/drawing/2014/main" id="{8E767F71-754F-E945-AC05-2F3288013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87647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reaker Slide -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55753C40-AE53-834E-B920-9FE177813E75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20038B68-44D7-6F40-AF04-C57E0E162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369294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Slide - 8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>
            <a:extLst>
              <a:ext uri="{FF2B5EF4-FFF2-40B4-BE49-F238E27FC236}">
                <a16:creationId xmlns:a16="http://schemas.microsoft.com/office/drawing/2014/main" id="{55753C40-AE53-834E-B920-9FE177813E75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20038B68-44D7-6F40-AF04-C57E0E162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46852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5C56F7-249F-ED43-8344-EB7A4A8E120B}"/>
              </a:ext>
            </a:extLst>
          </p:cNvPr>
          <p:cNvSpPr/>
          <p:nvPr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727F0A-432F-B04D-80B9-C482F377F8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1D4E5D6-DB3D-504B-8D90-A48B1863B0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9CCBEC-9570-E746-998E-A813A530B25B}"/>
              </a:ext>
            </a:extLst>
          </p:cNvPr>
          <p:cNvSpPr/>
          <p:nvPr/>
        </p:nvSpPr>
        <p:spPr>
          <a:xfrm>
            <a:off x="1881052" y="1223346"/>
            <a:ext cx="1097281" cy="109728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37BEC-606B-7641-BE27-E7B1F0482B89}"/>
              </a:ext>
            </a:extLst>
          </p:cNvPr>
          <p:cNvSpPr/>
          <p:nvPr/>
        </p:nvSpPr>
        <p:spPr>
          <a:xfrm>
            <a:off x="3178629" y="1223346"/>
            <a:ext cx="1097281" cy="10972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D06D8D-CB0B-E844-8CF4-8D6E4FC510EF}"/>
              </a:ext>
            </a:extLst>
          </p:cNvPr>
          <p:cNvSpPr/>
          <p:nvPr/>
        </p:nvSpPr>
        <p:spPr>
          <a:xfrm>
            <a:off x="3178629" y="2471989"/>
            <a:ext cx="1097281" cy="10972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A62054-7EBD-714F-A545-F938A41D1947}"/>
              </a:ext>
            </a:extLst>
          </p:cNvPr>
          <p:cNvSpPr/>
          <p:nvPr/>
        </p:nvSpPr>
        <p:spPr>
          <a:xfrm>
            <a:off x="5773783" y="1223346"/>
            <a:ext cx="1097281" cy="1097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47DFAC-8998-2542-BD3E-F8526126279C}"/>
              </a:ext>
            </a:extLst>
          </p:cNvPr>
          <p:cNvSpPr/>
          <p:nvPr/>
        </p:nvSpPr>
        <p:spPr>
          <a:xfrm>
            <a:off x="4476206" y="1238481"/>
            <a:ext cx="1097281" cy="10972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F10057-588D-C549-858E-469BB799460F}"/>
              </a:ext>
            </a:extLst>
          </p:cNvPr>
          <p:cNvSpPr/>
          <p:nvPr/>
        </p:nvSpPr>
        <p:spPr>
          <a:xfrm>
            <a:off x="1881052" y="2483806"/>
            <a:ext cx="1097281" cy="10972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7ADC94-0AD7-AB4F-9CE4-4A0DC636FC3A}"/>
              </a:ext>
            </a:extLst>
          </p:cNvPr>
          <p:cNvSpPr/>
          <p:nvPr/>
        </p:nvSpPr>
        <p:spPr>
          <a:xfrm>
            <a:off x="4476206" y="2471989"/>
            <a:ext cx="1097281" cy="10972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D34BEE-10C8-FB4E-8C36-1A6E063CE732}"/>
              </a:ext>
            </a:extLst>
          </p:cNvPr>
          <p:cNvSpPr/>
          <p:nvPr/>
        </p:nvSpPr>
        <p:spPr>
          <a:xfrm>
            <a:off x="5773783" y="2471989"/>
            <a:ext cx="1097281" cy="109728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57286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500" y="1445641"/>
            <a:ext cx="4823003" cy="659606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/>
        </p:nvSpPr>
        <p:spPr>
          <a:xfrm>
            <a:off x="0" y="4210494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7" y="4398104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03604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V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0222" y="2036888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6E0CA9-9701-E44D-BD2B-38D304563738}"/>
              </a:ext>
            </a:extLst>
          </p:cNvPr>
          <p:cNvSpPr/>
          <p:nvPr userDrawn="1"/>
        </p:nvSpPr>
        <p:spPr>
          <a:xfrm flipV="1">
            <a:off x="280221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8AEF12-0684-844C-9BCC-15E9BD109D8E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993598"/>
      </p:ext>
    </p:extLst>
  </p:cSld>
  <p:clrMapOvr>
    <a:masterClrMapping/>
  </p:clrMapOvr>
  <p:hf sldNum="0" hd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9000">
                <a:schemeClr val="accent4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3EAACC2-46FB-3B46-B257-C0E443A23A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5D22A1-6E45-BB48-BFD7-0259302992D2}"/>
              </a:ext>
            </a:extLst>
          </p:cNvPr>
          <p:cNvSpPr/>
          <p:nvPr userDrawn="1"/>
        </p:nvSpPr>
        <p:spPr>
          <a:xfrm flipV="1">
            <a:off x="280221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539493"/>
      </p:ext>
    </p:extLst>
  </p:cSld>
  <p:clrMapOvr>
    <a:masterClrMapping/>
  </p:clrMapOvr>
  <p:hf sldNum="0" hd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1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342892" indent="-342892" algn="l">
              <a:buFont typeface="Arial" panose="020B0604020202020204" pitchFamily="34" charset="0"/>
              <a:buChar char="•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1" y="1395406"/>
            <a:ext cx="661850" cy="274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D3A411-F903-B84C-A60E-DBB4F961217A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383113"/>
      </p:ext>
    </p:extLst>
  </p:cSld>
  <p:clrMapOvr>
    <a:masterClrMapping/>
  </p:clrMapOvr>
  <p:hf sldNum="0" hd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153CCB41-91F5-6944-A65F-67E7F16F20AC}"/>
              </a:ext>
            </a:extLst>
          </p:cNvPr>
          <p:cNvGrpSpPr/>
          <p:nvPr userDrawn="1"/>
        </p:nvGrpSpPr>
        <p:grpSpPr>
          <a:xfrm>
            <a:off x="2" y="4721705"/>
            <a:ext cx="9143999" cy="431733"/>
            <a:chOff x="1" y="4721705"/>
            <a:chExt cx="9143999" cy="43173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214790E-DB84-5E49-8B34-D05E51D3AEBE}"/>
                </a:ext>
              </a:extLst>
            </p:cNvPr>
            <p:cNvSpPr/>
            <p:nvPr userDrawn="1"/>
          </p:nvSpPr>
          <p:spPr>
            <a:xfrm>
              <a:off x="1" y="4721705"/>
              <a:ext cx="9143999" cy="431733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7BFA449-2A80-D942-830D-1DC3FA3C6F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234" y="4762819"/>
              <a:ext cx="1395478" cy="3495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5" y="1091382"/>
            <a:ext cx="8586643" cy="3280322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8634" indent="-285743">
              <a:buFont typeface="Arial" panose="020B0604020202020204" pitchFamily="34" charset="0"/>
              <a:buChar char="•"/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71526" indent="-285743">
              <a:buFont typeface="Arial" panose="020B0604020202020204" pitchFamily="34" charset="0"/>
              <a:buChar char="•"/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200120" indent="-171446">
              <a:buFont typeface="Arial" panose="020B0604020202020204" pitchFamily="34" charset="0"/>
              <a:buChar char="•"/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43012" indent="-171446">
              <a:buFont typeface="Arial" panose="020B0604020202020204" pitchFamily="34" charset="0"/>
              <a:buChar char="•"/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70FB82A6-D4B0-214C-9B22-18BBE0E409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405478"/>
      </p:ext>
    </p:extLst>
  </p:cSld>
  <p:clrMapOvr>
    <a:masterClrMapping/>
  </p:clrMapOvr>
  <p:hf sldNum="0" hd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3C121E6-7270-B344-B20C-4513FE4BAD1A}"/>
              </a:ext>
            </a:extLst>
          </p:cNvPr>
          <p:cNvSpPr/>
          <p:nvPr userDrawn="1"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5" y="1091382"/>
            <a:ext cx="4233256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0" y="1091382"/>
            <a:ext cx="4233256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Footer Placeholder 40">
            <a:extLst>
              <a:ext uri="{FF2B5EF4-FFF2-40B4-BE49-F238E27FC236}">
                <a16:creationId xmlns:a16="http://schemas.microsoft.com/office/drawing/2014/main" id="{3616FDA6-5B43-6041-B1E4-22F99F5769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828BB631-2CC8-DB48-9F41-CA0E84D878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115979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A3B3B77D-5279-2343-B4EF-51FE7CF25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25977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F8FEB8A-46A6-8B40-89D1-2CEA1D3C0A62}"/>
              </a:ext>
            </a:extLst>
          </p:cNvPr>
          <p:cNvSpPr/>
          <p:nvPr userDrawn="1"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4" y="1091382"/>
            <a:ext cx="5979503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79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2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C3CBC-9FB3-B847-9003-2E4206ADAC8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61505D-683C-0D44-8CFE-BC5F5D12924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405182"/>
      </p:ext>
    </p:extLst>
  </p:cSld>
  <p:clrMapOvr>
    <a:masterClrMapping/>
  </p:clrMapOvr>
  <p:hf sldNum="0"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6DC04E6-2BBA-954A-8681-11D25E55E14B}"/>
              </a:ext>
            </a:extLst>
          </p:cNvPr>
          <p:cNvSpPr/>
          <p:nvPr userDrawn="1"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35AA6-1741-D84A-9924-9F43F9EF8B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4905E6DB-0990-F043-8088-06395F7953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272135"/>
      </p:ext>
    </p:extLst>
  </p:cSld>
  <p:clrMapOvr>
    <a:masterClrMapping/>
  </p:clrMapOvr>
  <p:hf sldNum="0"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5C56F7-249F-ED43-8344-EB7A4A8E120B}"/>
              </a:ext>
            </a:extLst>
          </p:cNvPr>
          <p:cNvSpPr/>
          <p:nvPr userDrawn="1"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727F0A-432F-B04D-80B9-C482F377F8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1D4E5D6-DB3D-504B-8D90-A48B1863B0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945864"/>
      </p:ext>
    </p:extLst>
  </p:cSld>
  <p:clrMapOvr>
    <a:masterClrMapping/>
  </p:clrMapOvr>
  <p:hf sldNum="0" hd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6C56AEFC-EFED-DA4F-B05E-9D986D8DD603}"/>
              </a:ext>
            </a:extLst>
          </p:cNvPr>
          <p:cNvSpPr/>
          <p:nvPr userDrawn="1"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7" y="1725644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5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5" y="3158765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8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5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5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4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1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1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5" y="1699748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2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2" y="3132869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4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4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4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618F6-CDD5-2F45-990B-F206C90CC6BA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54EBC3-4AC4-DE44-AABF-1DF0F09CCE3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458559"/>
      </p:ext>
    </p:extLst>
  </p:cSld>
  <p:clrMapOvr>
    <a:masterClrMapping/>
  </p:clrMapOvr>
  <p:hf sldNum="0"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1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1" y="1395407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1DDB456-F4F0-C24C-9DB5-55635BBDC2D6}"/>
              </a:ext>
            </a:extLst>
          </p:cNvPr>
          <p:cNvSpPr txBox="1">
            <a:spLocks/>
          </p:cNvSpPr>
          <p:nvPr userDrawn="1"/>
        </p:nvSpPr>
        <p:spPr>
          <a:xfrm>
            <a:off x="7429960" y="4659683"/>
            <a:ext cx="1626955" cy="3428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0303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pril 24, 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687668"/>
      </p:ext>
    </p:extLst>
  </p:cSld>
  <p:clrMapOvr>
    <a:masterClrMapping/>
  </p:clrMapOvr>
  <p:hf sldNum="0"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  <p:sp>
        <p:nvSpPr>
          <p:cNvPr id="17" name="Title 15">
            <a:extLst>
              <a:ext uri="{FF2B5EF4-FFF2-40B4-BE49-F238E27FC236}">
                <a16:creationId xmlns:a16="http://schemas.microsoft.com/office/drawing/2014/main" id="{A6DB194C-D94D-454C-AA03-059EDA06E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9988115"/>
      </p:ext>
    </p:extLst>
  </p:cSld>
  <p:clrMapOvr>
    <a:masterClrMapping/>
  </p:clrMapOvr>
  <p:hf sldNum="0"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47FDCF11-6B39-A445-8A7D-7ECB0250DE18}"/>
              </a:ext>
            </a:extLst>
          </p:cNvPr>
          <p:cNvSpPr txBox="1">
            <a:spLocks/>
          </p:cNvSpPr>
          <p:nvPr userDrawn="1"/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847561"/>
      </p:ext>
    </p:extLst>
  </p:cSld>
  <p:clrMapOvr>
    <a:masterClrMapping/>
  </p:clrMapOvr>
  <p:hf sldNum="0"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A3B3B77D-5279-2343-B4EF-51FE7CF25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61666"/>
      </p:ext>
    </p:extLst>
  </p:cSld>
  <p:clrMapOvr>
    <a:masterClrMapping/>
  </p:clrMapOvr>
  <p:hf sldNum="0"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5964573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5">
            <a:extLst>
              <a:ext uri="{FF2B5EF4-FFF2-40B4-BE49-F238E27FC236}">
                <a16:creationId xmlns:a16="http://schemas.microsoft.com/office/drawing/2014/main" id="{1D9389B5-71BD-8C4B-934A-392DEA674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65757"/>
      </p:ext>
    </p:extLst>
  </p:cSld>
  <p:clrMapOvr>
    <a:masterClrMapping/>
  </p:clrMapOvr>
  <p:hf sldNum="0"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400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FFEFAC7-43B3-A848-9DE4-D8C41BCE9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570523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5964573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3" name="Title 15">
            <a:extLst>
              <a:ext uri="{FF2B5EF4-FFF2-40B4-BE49-F238E27FC236}">
                <a16:creationId xmlns:a16="http://schemas.microsoft.com/office/drawing/2014/main" id="{1D9389B5-71BD-8C4B-934A-392DEA674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10285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540251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2CE8942-2E2F-D443-BEED-4B53E3A95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398180"/>
      </p:ext>
    </p:extLst>
  </p:cSld>
  <p:clrMapOvr>
    <a:masterClrMapping/>
  </p:clrMapOvr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5">
            <a:extLst>
              <a:ext uri="{FF2B5EF4-FFF2-40B4-BE49-F238E27FC236}">
                <a16:creationId xmlns:a16="http://schemas.microsoft.com/office/drawing/2014/main" id="{671B0571-BD52-C24A-9AEF-590AE38CD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94066"/>
      </p:ext>
    </p:extLst>
  </p:cSld>
  <p:clrMapOvr>
    <a:masterClrMapping/>
  </p:clrMapOvr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 with Image - 1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5409" y="0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502934"/>
      </p:ext>
    </p:extLst>
  </p:cSld>
  <p:clrMapOvr>
    <a:masterClrMapping/>
  </p:clrMapOvr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1" y="0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733612"/>
      </p:ext>
    </p:extLst>
  </p:cSld>
  <p:clrMapOvr>
    <a:masterClrMapping/>
  </p:clrMapOvr>
  <p:hf sldNum="0"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500" y="1445641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3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7" y="4398104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005698"/>
      </p:ext>
    </p:extLst>
  </p:cSld>
  <p:clrMapOvr>
    <a:masterClrMapping/>
  </p:clrMapOvr>
  <p:hf sldNum="0"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1" y="595762"/>
            <a:ext cx="4823003" cy="659606"/>
          </a:xfr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1" y="1395407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904F5E1-B010-9B4E-AB5B-03A322235C56}"/>
              </a:ext>
            </a:extLst>
          </p:cNvPr>
          <p:cNvSpPr txBox="1">
            <a:spLocks/>
          </p:cNvSpPr>
          <p:nvPr userDrawn="1"/>
        </p:nvSpPr>
        <p:spPr>
          <a:xfrm>
            <a:off x="280221" y="3209990"/>
            <a:ext cx="1626955" cy="3428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0303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pril 24, 202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848323-4DDB-E648-8BA7-11388FB8EB45}"/>
              </a:ext>
            </a:extLst>
          </p:cNvPr>
          <p:cNvSpPr/>
          <p:nvPr userDrawn="1"/>
        </p:nvSpPr>
        <p:spPr>
          <a:xfrm>
            <a:off x="280221" y="4659683"/>
            <a:ext cx="1706584" cy="34286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9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ny Logo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194CAD5-5ABE-F44E-93E2-A0160D4B1D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627" y="4551353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349092"/>
      </p:ext>
    </p:extLst>
  </p:cSld>
  <p:clrMapOvr>
    <a:masterClrMapping/>
  </p:clrMapOvr>
  <p:hf sldNum="0"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1" y="595762"/>
            <a:ext cx="4823003" cy="659606"/>
          </a:xfr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342892" indent="-342892" algn="l">
              <a:buFont typeface="Arial" panose="020B0604020202020204" pitchFamily="34" charset="0"/>
              <a:buChar char="•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1" y="1395407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1DDB456-F4F0-C24C-9DB5-55635BBDC2D6}"/>
              </a:ext>
            </a:extLst>
          </p:cNvPr>
          <p:cNvSpPr txBox="1">
            <a:spLocks/>
          </p:cNvSpPr>
          <p:nvPr userDrawn="1"/>
        </p:nvSpPr>
        <p:spPr>
          <a:xfrm>
            <a:off x="7429960" y="4659683"/>
            <a:ext cx="1626955" cy="3428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0303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pril 24, 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552322"/>
      </p:ext>
    </p:extLst>
  </p:cSld>
  <p:clrMapOvr>
    <a:masterClrMapping/>
  </p:clrMapOvr>
  <p:hf sldNum="0"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2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5" y="1091382"/>
            <a:ext cx="8586643" cy="3280322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8634" indent="-285743">
              <a:buFont typeface="Arial" panose="020B0604020202020204" pitchFamily="34" charset="0"/>
              <a:buChar char="•"/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71526" indent="-285743">
              <a:buFont typeface="Arial" panose="020B0604020202020204" pitchFamily="34" charset="0"/>
              <a:buChar char="•"/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200120" indent="-171446">
              <a:buFont typeface="Arial" panose="020B0604020202020204" pitchFamily="34" charset="0"/>
              <a:buChar char="•"/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43012" indent="-171446">
              <a:buFont typeface="Arial" panose="020B0604020202020204" pitchFamily="34" charset="0"/>
              <a:buChar char="•"/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1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1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867891"/>
      </p:ext>
    </p:extLst>
  </p:cSld>
  <p:clrMapOvr>
    <a:masterClrMapping/>
  </p:clrMapOvr>
  <p:hf sldNum="0"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2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1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1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5" y="1091382"/>
            <a:ext cx="4233256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0" y="1091382"/>
            <a:ext cx="4233256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5656462"/>
      </p:ext>
    </p:extLst>
  </p:cSld>
  <p:clrMapOvr>
    <a:masterClrMapping/>
  </p:clrMapOvr>
  <p:hf sldNum="0"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2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1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1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4" y="1091382"/>
            <a:ext cx="5979503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79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2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603117536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400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FFEFAC7-43B3-A848-9DE4-D8C41BCE9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6134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2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1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1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11059"/>
      </p:ext>
    </p:extLst>
  </p:cSld>
  <p:clrMapOvr>
    <a:masterClrMapping/>
  </p:clrMapOvr>
  <p:hf sldNum="0"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2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1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1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093736"/>
      </p:ext>
    </p:extLst>
  </p:cSld>
  <p:clrMapOvr>
    <a:masterClrMapping/>
  </p:clrMapOvr>
  <p:hf sldNum="0"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2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1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1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7" y="1725644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5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5" y="3158765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8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5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5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4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1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1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5" y="1699748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2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2" y="3132869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4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4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4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</p:spTree>
    <p:extLst>
      <p:ext uri="{BB962C8B-B14F-4D97-AF65-F5344CB8AC3E}">
        <p14:creationId xmlns:p14="http://schemas.microsoft.com/office/powerpoint/2010/main" val="1112196039"/>
      </p:ext>
    </p:extLst>
  </p:cSld>
  <p:clrMapOvr>
    <a:masterClrMapping/>
  </p:clrMapOvr>
  <p:hf sldNum="0"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 with Image -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67" r="20717"/>
          <a:stretch/>
        </p:blipFill>
        <p:spPr>
          <a:xfrm>
            <a:off x="2605409" y="0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83602"/>
      </p:ext>
    </p:extLst>
  </p:cSld>
  <p:clrMapOvr>
    <a:masterClrMapping/>
  </p:clrMapOvr>
  <p:hf sldNum="0"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96" t="11379" r="20746" b="11095"/>
          <a:stretch/>
        </p:blipFill>
        <p:spPr>
          <a:xfrm>
            <a:off x="4572001" y="0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01686"/>
      </p:ext>
    </p:extLst>
  </p:cSld>
  <p:clrMapOvr>
    <a:masterClrMapping/>
  </p:clrMapOvr>
  <p:hf sldNum="0"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500" y="1445641"/>
            <a:ext cx="4823003" cy="659606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4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8" y="4398105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369324"/>
      </p:ext>
    </p:extLst>
  </p:cSld>
  <p:clrMapOvr>
    <a:masterClrMapping/>
  </p:clrMapOvr>
  <p:hf sldNum="0"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7D6798-FDF8-4273-A089-C1CF4226E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AEA6C3-5E0B-4E00-B14E-2C2F876715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136870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540251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2CE8942-2E2F-D443-BEED-4B53E3A95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8863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5">
            <a:extLst>
              <a:ext uri="{FF2B5EF4-FFF2-40B4-BE49-F238E27FC236}">
                <a16:creationId xmlns:a16="http://schemas.microsoft.com/office/drawing/2014/main" id="{671B0571-BD52-C24A-9AEF-590AE38CD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2450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 with Image - 1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5408" y="0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7790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1" y="0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869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9000">
                <a:schemeClr val="accent4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3EAACC2-46FB-3B46-B257-C0E443A23A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5D22A1-6E45-BB48-BFD7-0259302992D2}"/>
              </a:ext>
            </a:extLst>
          </p:cNvPr>
          <p:cNvSpPr/>
          <p:nvPr userDrawn="1"/>
        </p:nvSpPr>
        <p:spPr>
          <a:xfrm flipV="1">
            <a:off x="280220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9615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499" y="1445641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2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7" y="4398104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1104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0" y="595762"/>
            <a:ext cx="4823003" cy="659606"/>
          </a:xfr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6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904F5E1-B010-9B4E-AB5B-03A322235C56}"/>
              </a:ext>
            </a:extLst>
          </p:cNvPr>
          <p:cNvSpPr txBox="1">
            <a:spLocks/>
          </p:cNvSpPr>
          <p:nvPr userDrawn="1"/>
        </p:nvSpPr>
        <p:spPr>
          <a:xfrm>
            <a:off x="280220" y="3209989"/>
            <a:ext cx="1626955" cy="3428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pril 24, 202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848323-4DDB-E648-8BA7-11388FB8EB45}"/>
              </a:ext>
            </a:extLst>
          </p:cNvPr>
          <p:cNvSpPr/>
          <p:nvPr userDrawn="1"/>
        </p:nvSpPr>
        <p:spPr>
          <a:xfrm>
            <a:off x="280220" y="4659682"/>
            <a:ext cx="1706584" cy="34286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0">
                <a:solidFill>
                  <a:schemeClr val="tx2">
                    <a:lumMod val="90000"/>
                  </a:schemeClr>
                </a:solidFill>
              </a:rPr>
              <a:t>Company Logo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194CAD5-5ABE-F44E-93E2-A0160D4B1D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627" y="4551353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7330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0" y="595762"/>
            <a:ext cx="4823003" cy="659606"/>
          </a:xfr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6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1DDB456-F4F0-C24C-9DB5-55635BBDC2D6}"/>
              </a:ext>
            </a:extLst>
          </p:cNvPr>
          <p:cNvSpPr txBox="1">
            <a:spLocks/>
          </p:cNvSpPr>
          <p:nvPr userDrawn="1"/>
        </p:nvSpPr>
        <p:spPr>
          <a:xfrm>
            <a:off x="7429959" y="4659682"/>
            <a:ext cx="1626955" cy="3428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pril 24, 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9688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1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4" y="1091381"/>
            <a:ext cx="8586643" cy="3280322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8650" indent="-285750">
              <a:buFont typeface="Arial" panose="020B0604020202020204" pitchFamily="34" charset="0"/>
              <a:buChar char="•"/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71550" indent="-285750">
              <a:buFont typeface="Arial" panose="020B0604020202020204" pitchFamily="34" charset="0"/>
              <a:buChar char="•"/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200150" indent="-171450">
              <a:buFont typeface="Arial" panose="020B0604020202020204" pitchFamily="34" charset="0"/>
              <a:buChar char="•"/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43050" indent="-171450">
              <a:buFont typeface="Arial" panose="020B0604020202020204" pitchFamily="34" charset="0"/>
              <a:buChar char="•"/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0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6" y="4838830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6337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1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0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6" y="4838830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4" y="1091381"/>
            <a:ext cx="4233256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0" y="1091381"/>
            <a:ext cx="4233256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95948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1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0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6" y="4838830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3" y="1091381"/>
            <a:ext cx="5979503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79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1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6915044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1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0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6" y="4838830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7835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1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0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6" y="4838830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© 2021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874817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1" y="4711766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0"/>
            <a:ext cx="463960" cy="177604"/>
          </a:xfrm>
        </p:spPr>
        <p:txBody>
          <a:bodyPr lIns="0" rIns="0"/>
          <a:lstStyle>
            <a:lvl1pPr algn="l">
              <a:defRPr sz="1050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6" y="4838830"/>
            <a:ext cx="2168425" cy="177604"/>
          </a:xfrm>
        </p:spPr>
        <p:txBody>
          <a:bodyPr lIns="0" rIns="0"/>
          <a:lstStyle>
            <a:lvl1pPr algn="r">
              <a:defRPr sz="1050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6" y="1725644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4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4" y="3158765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7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5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5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3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1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1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4" y="1699748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2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2" y="3132869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3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3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3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</p:spTree>
    <p:extLst>
      <p:ext uri="{BB962C8B-B14F-4D97-AF65-F5344CB8AC3E}">
        <p14:creationId xmlns:p14="http://schemas.microsoft.com/office/powerpoint/2010/main" val="35898559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 with Image -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67" r="20717"/>
          <a:stretch/>
        </p:blipFill>
        <p:spPr>
          <a:xfrm>
            <a:off x="2605408" y="0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0163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0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6"/>
            <a:ext cx="661850" cy="274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D3A411-F903-B84C-A60E-DBB4F961217A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8155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96" t="11379" r="20746" b="11095"/>
          <a:stretch/>
        </p:blipFill>
        <p:spPr>
          <a:xfrm>
            <a:off x="4572001" y="0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685499"/>
            <a:ext cx="4823003" cy="480131"/>
          </a:xfr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4209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499" y="1445641"/>
            <a:ext cx="4823003" cy="659606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3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8" y="4398105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7364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7D6798-FDF8-4273-A089-C1CF4226E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AEA6C3-5E0B-4E00-B14E-2C2F876715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5934874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V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1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0221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553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0223" y="2036887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79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6061ED9-E2F6-AD4B-90B6-0AE7D1CA1E29}"/>
              </a:ext>
            </a:extLst>
          </p:cNvPr>
          <p:cNvSpPr txBox="1">
            <a:spLocks/>
          </p:cNvSpPr>
          <p:nvPr userDrawn="1"/>
        </p:nvSpPr>
        <p:spPr>
          <a:xfrm>
            <a:off x="309144" y="3829168"/>
            <a:ext cx="1626955" cy="342865"/>
          </a:xfrm>
          <a:prstGeom prst="rect">
            <a:avLst/>
          </a:prstGeom>
        </p:spPr>
        <p:txBody>
          <a:bodyPr vert="horz" lIns="90242" tIns="45121" rIns="90242" bIns="45121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76816" rtl="0" eaLnBrk="1" fontAlgn="auto" latinLnBrk="0" hangingPunct="1">
              <a:lnSpc>
                <a:spcPct val="90000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8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pril 24, 202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6E0CA9-9701-E44D-BD2B-38D304563738}"/>
              </a:ext>
            </a:extLst>
          </p:cNvPr>
          <p:cNvSpPr/>
          <p:nvPr userDrawn="1"/>
        </p:nvSpPr>
        <p:spPr>
          <a:xfrm flipV="1">
            <a:off x="280220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8AEF12-0684-844C-9BCC-15E9BD109D8E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5227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1"/>
            <a:ext cx="9143999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9000">
                <a:schemeClr val="accent4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3EAACC2-46FB-3B46-B257-C0E443A23A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1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553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5D22A1-6E45-BB48-BFD7-0259302992D2}"/>
              </a:ext>
            </a:extLst>
          </p:cNvPr>
          <p:cNvSpPr/>
          <p:nvPr userDrawn="1"/>
        </p:nvSpPr>
        <p:spPr>
          <a:xfrm flipV="1">
            <a:off x="280220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9953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3" y="-600502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1" y="-4741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857832"/>
            <a:ext cx="8720478" cy="3543571"/>
          </a:xfrm>
        </p:spPr>
        <p:txBody>
          <a:bodyPr anchor="t" anchorCtr="0">
            <a:normAutofit/>
          </a:bodyPr>
          <a:lstStyle>
            <a:lvl1pPr marL="338408" indent="-338408" algn="l">
              <a:buFont typeface="Arial" panose="020B0604020202020204" pitchFamily="34" charset="0"/>
              <a:buChar char="•"/>
              <a:defRPr sz="15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740311"/>
            <a:ext cx="661850" cy="274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D3A411-F903-B84C-A60E-DBB4F961217A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5741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9214790E-DB84-5E49-8B34-D05E51D3AEBE}"/>
              </a:ext>
            </a:extLst>
          </p:cNvPr>
          <p:cNvSpPr/>
          <p:nvPr userDrawn="1"/>
        </p:nvSpPr>
        <p:spPr>
          <a:xfrm>
            <a:off x="3" y="4721707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6" y="1091383"/>
            <a:ext cx="8586643" cy="3280322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0415" indent="-282007">
              <a:buFont typeface="Arial" panose="020B0604020202020204" pitchFamily="34" charset="0"/>
              <a:buChar char="•"/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58823" indent="-282007">
              <a:buFont typeface="Arial" panose="020B0604020202020204" pitchFamily="34" charset="0"/>
              <a:buChar char="•"/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184428" indent="-169204">
              <a:buFont typeface="Arial" panose="020B0604020202020204" pitchFamily="34" charset="0"/>
              <a:buChar char="•"/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22836" indent="-169204">
              <a:buFont typeface="Arial" panose="020B0604020202020204" pitchFamily="34" charset="0"/>
              <a:buChar char="•"/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70FB82A6-D4B0-214C-9B22-18BBE0E409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5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3C121E6-7270-B344-B20C-4513FE4BAD1A}"/>
              </a:ext>
            </a:extLst>
          </p:cNvPr>
          <p:cNvSpPr/>
          <p:nvPr userDrawn="1"/>
        </p:nvSpPr>
        <p:spPr>
          <a:xfrm>
            <a:off x="3" y="4721707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4" y="1091381"/>
            <a:ext cx="4233256" cy="3263504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1" y="1091381"/>
            <a:ext cx="4233256" cy="3263504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Footer Placeholder 40">
            <a:extLst>
              <a:ext uri="{FF2B5EF4-FFF2-40B4-BE49-F238E27FC236}">
                <a16:creationId xmlns:a16="http://schemas.microsoft.com/office/drawing/2014/main" id="{3616FDA6-5B43-6041-B1E4-22F99F5769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828BB631-2CC8-DB48-9F41-CA0E84D878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093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F8FEB8A-46A6-8B40-89D1-2CEA1D3C0A62}"/>
              </a:ext>
            </a:extLst>
          </p:cNvPr>
          <p:cNvSpPr/>
          <p:nvPr userDrawn="1"/>
        </p:nvSpPr>
        <p:spPr>
          <a:xfrm>
            <a:off x="3" y="4721707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5" y="1091381"/>
            <a:ext cx="5979503" cy="3263504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81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88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3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38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C3CBC-9FB3-B847-9003-2E4206ADAC8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61505D-683C-0D44-8CFE-BC5F5D12924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9791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6DC04E6-2BBA-954A-8681-11D25E55E14B}"/>
              </a:ext>
            </a:extLst>
          </p:cNvPr>
          <p:cNvSpPr/>
          <p:nvPr userDrawn="1"/>
        </p:nvSpPr>
        <p:spPr>
          <a:xfrm>
            <a:off x="3" y="4721707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35AA6-1741-D84A-9924-9F43F9EF8B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4905E6DB-0990-F043-8088-06395F7953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175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153CCB41-91F5-6944-A65F-67E7F16F20AC}"/>
              </a:ext>
            </a:extLst>
          </p:cNvPr>
          <p:cNvGrpSpPr/>
          <p:nvPr userDrawn="1"/>
        </p:nvGrpSpPr>
        <p:grpSpPr>
          <a:xfrm>
            <a:off x="1" y="4721705"/>
            <a:ext cx="9143999" cy="431733"/>
            <a:chOff x="1" y="4721705"/>
            <a:chExt cx="9143999" cy="43173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214790E-DB84-5E49-8B34-D05E51D3AEBE}"/>
                </a:ext>
              </a:extLst>
            </p:cNvPr>
            <p:cNvSpPr/>
            <p:nvPr userDrawn="1"/>
          </p:nvSpPr>
          <p:spPr>
            <a:xfrm>
              <a:off x="1" y="4721705"/>
              <a:ext cx="9143999" cy="431733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7BFA449-2A80-D942-830D-1DC3FA3C6F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234" y="4762819"/>
              <a:ext cx="1395478" cy="3495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4" y="1091381"/>
            <a:ext cx="8586643" cy="3280322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8650" indent="-285750">
              <a:buFont typeface="Arial" panose="020B0604020202020204" pitchFamily="34" charset="0"/>
              <a:buChar char="•"/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71550" indent="-285750">
              <a:buFont typeface="Arial" panose="020B0604020202020204" pitchFamily="34" charset="0"/>
              <a:buChar char="•"/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200150" indent="-171450">
              <a:buFont typeface="Arial" panose="020B0604020202020204" pitchFamily="34" charset="0"/>
              <a:buChar char="•"/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43050" indent="-171450">
              <a:buFont typeface="Arial" panose="020B0604020202020204" pitchFamily="34" charset="0"/>
              <a:buChar char="•"/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6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70FB82A6-D4B0-214C-9B22-18BBE0E409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8746918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5C56F7-249F-ED43-8344-EB7A4A8E120B}"/>
              </a:ext>
            </a:extLst>
          </p:cNvPr>
          <p:cNvSpPr/>
          <p:nvPr userDrawn="1"/>
        </p:nvSpPr>
        <p:spPr>
          <a:xfrm>
            <a:off x="3" y="4721707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727F0A-432F-B04D-80B9-C482F377F8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1D4E5D6-DB3D-504B-8D90-A48B1863B0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7632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6C56AEFC-EFED-DA4F-B05E-9D986D8DD603}"/>
              </a:ext>
            </a:extLst>
          </p:cNvPr>
          <p:cNvSpPr/>
          <p:nvPr userDrawn="1"/>
        </p:nvSpPr>
        <p:spPr>
          <a:xfrm>
            <a:off x="3" y="4721707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8" y="1725645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4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4" y="3158766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9" y="1712697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6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6" y="3145818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5" y="1712697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2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2" y="3145818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6" y="1699750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3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3" y="3132871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5" y="1712697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4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4" y="3145818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618F6-CDD5-2F45-990B-F206C90CC6BA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54EBC3-4AC4-DE44-AABF-1DF0F09CCE3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0807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3" y="1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1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3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79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7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1DDB456-F4F0-C24C-9DB5-55635BBDC2D6}"/>
              </a:ext>
            </a:extLst>
          </p:cNvPr>
          <p:cNvSpPr txBox="1">
            <a:spLocks/>
          </p:cNvSpPr>
          <p:nvPr userDrawn="1"/>
        </p:nvSpPr>
        <p:spPr>
          <a:xfrm>
            <a:off x="7429961" y="4659684"/>
            <a:ext cx="1626955" cy="342865"/>
          </a:xfrm>
          <a:prstGeom prst="rect">
            <a:avLst/>
          </a:prstGeom>
        </p:spPr>
        <p:txBody>
          <a:bodyPr vert="horz" lIns="90242" tIns="45121" rIns="90242" bIns="45121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76816" rtl="0" eaLnBrk="1" fontAlgn="auto" latinLnBrk="0" hangingPunct="1">
              <a:lnSpc>
                <a:spcPct val="90000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84" b="0" i="0" u="none" strike="noStrike" kern="1200" cap="none" spc="0" normalizeH="0" baseline="0" noProof="0">
                <a:ln>
                  <a:noFill/>
                </a:ln>
                <a:solidFill>
                  <a:srgbClr val="20303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pril 24, 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8881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1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itle 15">
            <a:extLst>
              <a:ext uri="{FF2B5EF4-FFF2-40B4-BE49-F238E27FC236}">
                <a16:creationId xmlns:a16="http://schemas.microsoft.com/office/drawing/2014/main" id="{A6DB194C-D94D-454C-AA03-059EDA06E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53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0605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1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47FDCF11-6B39-A445-8A7D-7ECB0250DE18}"/>
              </a:ext>
            </a:extLst>
          </p:cNvPr>
          <p:cNvSpPr txBox="1">
            <a:spLocks/>
          </p:cNvSpPr>
          <p:nvPr userDrawn="1"/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vert="horz" wrap="square" lIns="90242" tIns="45121" rIns="90242" bIns="45121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67681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5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6007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1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A3B3B77D-5279-2343-B4EF-51FE7CF25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53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9574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1"/>
            <a:ext cx="5964573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5">
            <a:extLst>
              <a:ext uri="{FF2B5EF4-FFF2-40B4-BE49-F238E27FC236}">
                <a16:creationId xmlns:a16="http://schemas.microsoft.com/office/drawing/2014/main" id="{1D9389B5-71BD-8C4B-934A-392DEA674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53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4985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1"/>
            <a:ext cx="914400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FFEFAC7-43B3-A848-9DE4-D8C41BCE9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53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3622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0" y="1"/>
            <a:ext cx="540251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2CE8942-2E2F-D443-BEED-4B53E3A95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53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4113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5">
            <a:extLst>
              <a:ext uri="{FF2B5EF4-FFF2-40B4-BE49-F238E27FC236}">
                <a16:creationId xmlns:a16="http://schemas.microsoft.com/office/drawing/2014/main" id="{671B0571-BD52-C24A-9AEF-590AE38CD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10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53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A37CD5-0313-124B-855A-1454D218AA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853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3C121E6-7270-B344-B20C-4513FE4BAD1A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4" y="1091381"/>
            <a:ext cx="4233256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0" y="1091381"/>
            <a:ext cx="4233256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Footer Placeholder 40">
            <a:extLst>
              <a:ext uri="{FF2B5EF4-FFF2-40B4-BE49-F238E27FC236}">
                <a16:creationId xmlns:a16="http://schemas.microsoft.com/office/drawing/2014/main" id="{3616FDA6-5B43-6041-B1E4-22F99F5769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828BB631-2CC8-DB48-9F41-CA0E84D878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2388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 with Image - 1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5409" y="1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0" y="1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3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79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501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6534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1" y="1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0" y="1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3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79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501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3334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1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500" y="1445641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948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3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8" y="4398105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076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3" y="1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1" y="595762"/>
            <a:ext cx="4823003" cy="659606"/>
          </a:xfrm>
        </p:spPr>
        <p:txBody>
          <a:bodyPr anchor="ctr">
            <a:normAutofit/>
          </a:bodyPr>
          <a:lstStyle>
            <a:lvl1pPr algn="l"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3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79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7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94CAD5-5ABE-F44E-93E2-A0160D4B1D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627" y="4551353"/>
            <a:ext cx="2227086" cy="557784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4904F5E1-B010-9B4E-AB5B-03A322235C56}"/>
              </a:ext>
            </a:extLst>
          </p:cNvPr>
          <p:cNvSpPr txBox="1">
            <a:spLocks/>
          </p:cNvSpPr>
          <p:nvPr userDrawn="1"/>
        </p:nvSpPr>
        <p:spPr>
          <a:xfrm>
            <a:off x="280222" y="3209991"/>
            <a:ext cx="1626955" cy="342865"/>
          </a:xfrm>
          <a:prstGeom prst="rect">
            <a:avLst/>
          </a:prstGeom>
        </p:spPr>
        <p:txBody>
          <a:bodyPr vert="horz" lIns="90242" tIns="45121" rIns="90242" bIns="45121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76816" rtl="0" eaLnBrk="1" fontAlgn="auto" latinLnBrk="0" hangingPunct="1">
              <a:lnSpc>
                <a:spcPct val="90000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84" b="0" i="0" u="none" strike="noStrike" kern="1200" cap="none" spc="0" normalizeH="0" baseline="0" noProof="0">
                <a:ln>
                  <a:noFill/>
                </a:ln>
                <a:solidFill>
                  <a:srgbClr val="20303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pril 24, 202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848323-4DDB-E648-8BA7-11388FB8EB45}"/>
              </a:ext>
            </a:extLst>
          </p:cNvPr>
          <p:cNvSpPr/>
          <p:nvPr userDrawn="1"/>
        </p:nvSpPr>
        <p:spPr>
          <a:xfrm>
            <a:off x="280221" y="4659684"/>
            <a:ext cx="1706584" cy="34286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2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9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ny Logo</a:t>
            </a:r>
          </a:p>
        </p:txBody>
      </p:sp>
    </p:spTree>
    <p:extLst>
      <p:ext uri="{BB962C8B-B14F-4D97-AF65-F5344CB8AC3E}">
        <p14:creationId xmlns:p14="http://schemas.microsoft.com/office/powerpoint/2010/main" val="27043417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3" y="1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1" y="595762"/>
            <a:ext cx="4823003" cy="659606"/>
          </a:xfrm>
        </p:spPr>
        <p:txBody>
          <a:bodyPr anchor="ctr">
            <a:normAutofit/>
          </a:bodyPr>
          <a:lstStyle>
            <a:lvl1pPr algn="l"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3" y="1581163"/>
            <a:ext cx="4823003" cy="1353625"/>
          </a:xfrm>
        </p:spPr>
        <p:txBody>
          <a:bodyPr anchor="t" anchorCtr="0">
            <a:normAutofit/>
          </a:bodyPr>
          <a:lstStyle>
            <a:lvl1pPr marL="338408" indent="-338408" algn="l">
              <a:buFont typeface="Arial" panose="020B0604020202020204" pitchFamily="34" charset="0"/>
              <a:buChar char="•"/>
              <a:defRPr sz="1579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7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1DDB456-F4F0-C24C-9DB5-55635BBDC2D6}"/>
              </a:ext>
            </a:extLst>
          </p:cNvPr>
          <p:cNvSpPr txBox="1">
            <a:spLocks/>
          </p:cNvSpPr>
          <p:nvPr userDrawn="1"/>
        </p:nvSpPr>
        <p:spPr>
          <a:xfrm>
            <a:off x="7429961" y="4659684"/>
            <a:ext cx="1626955" cy="342865"/>
          </a:xfrm>
          <a:prstGeom prst="rect">
            <a:avLst/>
          </a:prstGeom>
        </p:spPr>
        <p:txBody>
          <a:bodyPr vert="horz" lIns="90242" tIns="45121" rIns="90242" bIns="45121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76816" rtl="0" eaLnBrk="1" fontAlgn="auto" latinLnBrk="0" hangingPunct="1">
              <a:lnSpc>
                <a:spcPct val="90000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84" b="0" i="0" u="none" strike="noStrike" kern="1200" cap="none" spc="0" normalizeH="0" baseline="0" noProof="0">
                <a:ln>
                  <a:noFill/>
                </a:ln>
                <a:solidFill>
                  <a:srgbClr val="20303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pril 24, 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4515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3" y="4711768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6" y="1091383"/>
            <a:ext cx="8586643" cy="3280322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0415" indent="-282007">
              <a:buFont typeface="Arial" panose="020B0604020202020204" pitchFamily="34" charset="0"/>
              <a:buChar char="•"/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58823" indent="-282007">
              <a:buFont typeface="Arial" panose="020B0604020202020204" pitchFamily="34" charset="0"/>
              <a:buChar char="•"/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184428" indent="-169204">
              <a:buFont typeface="Arial" panose="020B0604020202020204" pitchFamily="34" charset="0"/>
              <a:buChar char="•"/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22836" indent="-169204">
              <a:buFont typeface="Arial" panose="020B0604020202020204" pitchFamily="34" charset="0"/>
              <a:buChar char="•"/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2"/>
            <a:ext cx="463960" cy="177604"/>
          </a:xfrm>
        </p:spPr>
        <p:txBody>
          <a:bodyPr lIns="0" rIns="0"/>
          <a:lstStyle>
            <a:lvl1pPr algn="l">
              <a:defRPr sz="103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1036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l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036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2"/>
            <a:ext cx="2168425" cy="177604"/>
          </a:xfrm>
        </p:spPr>
        <p:txBody>
          <a:bodyPr lIns="0" rIns="0"/>
          <a:lstStyle>
            <a:lvl1pPr algn="r">
              <a:defRPr sz="1036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36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© 2021 Apps Associates LLC - Company Confidential</a:t>
            </a:r>
            <a:endParaRPr kumimoji="0" lang="en-PH" sz="1036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2103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3" y="4711768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2"/>
            <a:ext cx="463960" cy="177604"/>
          </a:xfrm>
        </p:spPr>
        <p:txBody>
          <a:bodyPr lIns="0" rIns="0"/>
          <a:lstStyle>
            <a:lvl1pPr algn="l">
              <a:defRPr sz="103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1036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l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036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2"/>
            <a:ext cx="2168425" cy="177604"/>
          </a:xfrm>
        </p:spPr>
        <p:txBody>
          <a:bodyPr lIns="0" rIns="0"/>
          <a:lstStyle>
            <a:lvl1pPr algn="r">
              <a:defRPr sz="1036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36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© 2021 Apps Associates LLC - Company Confidential</a:t>
            </a:r>
            <a:endParaRPr kumimoji="0" lang="en-PH" sz="1036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4" y="1091381"/>
            <a:ext cx="4233256" cy="3263504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1" y="1091381"/>
            <a:ext cx="4233256" cy="3263504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5557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3" y="4711768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2"/>
            <a:ext cx="463960" cy="177604"/>
          </a:xfrm>
        </p:spPr>
        <p:txBody>
          <a:bodyPr lIns="0" rIns="0"/>
          <a:lstStyle>
            <a:lvl1pPr algn="l">
              <a:defRPr sz="103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1036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l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036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2"/>
            <a:ext cx="2168425" cy="177604"/>
          </a:xfrm>
        </p:spPr>
        <p:txBody>
          <a:bodyPr lIns="0" rIns="0"/>
          <a:lstStyle>
            <a:lvl1pPr algn="r">
              <a:defRPr sz="1036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36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© 2021 Apps Associates LLC - Company Confidential</a:t>
            </a:r>
            <a:endParaRPr kumimoji="0" lang="en-PH" sz="1036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5" y="1091381"/>
            <a:ext cx="5979503" cy="3263504"/>
          </a:xfrm>
        </p:spPr>
        <p:txBody>
          <a:bodyPr>
            <a:normAutofit/>
          </a:bodyPr>
          <a:lstStyle>
            <a:lvl1pPr marL="282007" indent="-282007">
              <a:buFont typeface="Arial" panose="020B0604020202020204" pitchFamily="34" charset="0"/>
              <a:buChar char="•"/>
              <a:defRPr sz="1776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579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382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184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987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81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88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3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38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53842098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3" y="4711768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2"/>
            <a:ext cx="463960" cy="177604"/>
          </a:xfrm>
        </p:spPr>
        <p:txBody>
          <a:bodyPr lIns="0" rIns="0"/>
          <a:lstStyle>
            <a:lvl1pPr algn="l">
              <a:defRPr sz="103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1036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l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036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2"/>
            <a:ext cx="2168425" cy="177604"/>
          </a:xfrm>
        </p:spPr>
        <p:txBody>
          <a:bodyPr lIns="0" rIns="0"/>
          <a:lstStyle>
            <a:lvl1pPr algn="r">
              <a:defRPr sz="1036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36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© 2021 Apps Associates LLC - Company Confidential</a:t>
            </a:r>
            <a:endParaRPr kumimoji="0" lang="en-PH" sz="1036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72569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3" y="4711768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2"/>
            <a:ext cx="463960" cy="177604"/>
          </a:xfrm>
        </p:spPr>
        <p:txBody>
          <a:bodyPr lIns="0" rIns="0"/>
          <a:lstStyle>
            <a:lvl1pPr algn="l">
              <a:defRPr sz="103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1036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l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036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2"/>
            <a:ext cx="2168425" cy="177604"/>
          </a:xfrm>
        </p:spPr>
        <p:txBody>
          <a:bodyPr lIns="0" rIns="0"/>
          <a:lstStyle>
            <a:lvl1pPr algn="r">
              <a:defRPr sz="1036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36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© 2021 Apps Associates LLC - Company Confidential</a:t>
            </a:r>
            <a:endParaRPr kumimoji="0" lang="en-PH" sz="1036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189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F8FEB8A-46A6-8B40-89D1-2CEA1D3C0A62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3" y="1091381"/>
            <a:ext cx="5979503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79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1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C3CBC-9FB3-B847-9003-2E4206ADAC8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61505D-683C-0D44-8CFE-BC5F5D12924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6843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AADDB8-A0FA-A14D-8AB0-BC82F2F8D853}"/>
              </a:ext>
            </a:extLst>
          </p:cNvPr>
          <p:cNvSpPr/>
          <p:nvPr userDrawn="1"/>
        </p:nvSpPr>
        <p:spPr>
          <a:xfrm>
            <a:off x="3" y="4711768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7" y="326587"/>
            <a:ext cx="8586641" cy="424732"/>
          </a:xfrm>
        </p:spPr>
        <p:txBody>
          <a:bodyPr anchor="t" anchorCtr="0">
            <a:spAutoFit/>
          </a:bodyPr>
          <a:lstStyle>
            <a:lvl1pPr algn="l">
              <a:defRPr sz="2369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1229" y="4838832"/>
            <a:ext cx="463960" cy="177604"/>
          </a:xfrm>
        </p:spPr>
        <p:txBody>
          <a:bodyPr lIns="0" rIns="0"/>
          <a:lstStyle>
            <a:lvl1pPr algn="l">
              <a:defRPr sz="103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1036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l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036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14347" y="4838832"/>
            <a:ext cx="2168425" cy="177604"/>
          </a:xfrm>
        </p:spPr>
        <p:txBody>
          <a:bodyPr lIns="0" rIns="0"/>
          <a:lstStyle>
            <a:lvl1pPr algn="r">
              <a:defRPr sz="1036" b="0" i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36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© 2021 Apps Associates LLC - Company Confidential</a:t>
            </a:r>
            <a:endParaRPr kumimoji="0" lang="en-PH" sz="1036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CDD1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8" y="1725645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4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4" y="3158766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9" y="1712697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6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6" y="3145818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5" y="1712697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2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2" y="3145818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6" y="1699750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3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3" y="3132871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5" y="1712697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69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4" y="3512673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888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4" y="3145818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36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790"/>
            </a:lvl2pPr>
            <a:lvl3pPr>
              <a:defRPr sz="790"/>
            </a:lvl3pPr>
            <a:lvl4pPr>
              <a:defRPr sz="790"/>
            </a:lvl4pPr>
            <a:lvl5pPr>
              <a:defRPr sz="790"/>
            </a:lvl5pPr>
          </a:lstStyle>
          <a:p>
            <a:pPr lvl="0"/>
            <a:r>
              <a:rPr lang="en-US"/>
              <a:t>CLICK TO EDIT NAME</a:t>
            </a:r>
          </a:p>
        </p:txBody>
      </p:sp>
    </p:spTree>
    <p:extLst>
      <p:ext uri="{BB962C8B-B14F-4D97-AF65-F5344CB8AC3E}">
        <p14:creationId xmlns:p14="http://schemas.microsoft.com/office/powerpoint/2010/main" val="989087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 with Image -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67" r="20717"/>
          <a:stretch/>
        </p:blipFill>
        <p:spPr>
          <a:xfrm>
            <a:off x="2605409" y="1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0" y="1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3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79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501"/>
            <a:ext cx="4823003" cy="480131"/>
          </a:xfrm>
        </p:spPr>
        <p:txBody>
          <a:bodyPr wrap="square">
            <a:spAutoFit/>
          </a:bodyPr>
          <a:lstStyle>
            <a:lvl1pPr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934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96" t="11379" r="20746" b="11095"/>
          <a:stretch/>
        </p:blipFill>
        <p:spPr>
          <a:xfrm>
            <a:off x="4572001" y="1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0" y="1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3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79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38408" indent="0" algn="ctr">
              <a:buNone/>
              <a:defRPr sz="1480"/>
            </a:lvl2pPr>
            <a:lvl3pPr marL="676816" indent="0" algn="ctr">
              <a:buNone/>
              <a:defRPr sz="1332"/>
            </a:lvl3pPr>
            <a:lvl4pPr marL="1015224" indent="0" algn="ctr">
              <a:buNone/>
              <a:defRPr sz="1184"/>
            </a:lvl4pPr>
            <a:lvl5pPr marL="1353632" indent="0" algn="ctr">
              <a:buNone/>
              <a:defRPr sz="1184"/>
            </a:lvl5pPr>
            <a:lvl6pPr marL="1692040" indent="0" algn="ctr">
              <a:buNone/>
              <a:defRPr sz="1184"/>
            </a:lvl6pPr>
            <a:lvl7pPr marL="2030448" indent="0" algn="ctr">
              <a:buNone/>
              <a:defRPr sz="1184"/>
            </a:lvl7pPr>
            <a:lvl8pPr marL="2368856" indent="0" algn="ctr">
              <a:buNone/>
              <a:defRPr sz="1184"/>
            </a:lvl8pPr>
            <a:lvl9pPr marL="2707264" indent="0" algn="ctr">
              <a:buNone/>
              <a:defRPr sz="118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1" y="685501"/>
            <a:ext cx="4823003" cy="480131"/>
          </a:xfrm>
        </p:spPr>
        <p:txBody>
          <a:bodyPr wrap="square">
            <a:spAutoFit/>
          </a:bodyPr>
          <a:lstStyle>
            <a:lvl1pPr>
              <a:defRPr sz="2763" b="1" i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0201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0" y="1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6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500" y="1445641"/>
            <a:ext cx="4823003" cy="659606"/>
          </a:xfrm>
        </p:spPr>
        <p:txBody>
          <a:bodyPr anchor="ctr">
            <a:normAutofit/>
          </a:bodyPr>
          <a:lstStyle>
            <a:lvl1pPr algn="ctr">
              <a:defRPr sz="3948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4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7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8" y="4398105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369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7D6798-FDF8-4273-A089-C1CF4226E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AEA6C3-5E0B-4E00-B14E-2C2F876715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90205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aphic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/>
          <p:nvPr userDrawn="1"/>
        </p:nvCxnSpPr>
        <p:spPr>
          <a:xfrm>
            <a:off x="6801431" y="1200151"/>
            <a:ext cx="0" cy="3257550"/>
          </a:xfrm>
          <a:prstGeom prst="line">
            <a:avLst/>
          </a:prstGeom>
          <a:ln w="3175" cmpd="sng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"/>
          <p:cNvSpPr txBox="1">
            <a:spLocks/>
          </p:cNvSpPr>
          <p:nvPr userDrawn="1"/>
        </p:nvSpPr>
        <p:spPr bwMode="gray">
          <a:xfrm>
            <a:off x="7773234" y="1714504"/>
            <a:ext cx="1028968" cy="3590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8039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37" marR="0" lvl="0" indent="0" algn="l" defTabSz="902421" rtl="0" eaLnBrk="1" fontAlgn="auto" latinLnBrk="0" hangingPunct="1">
              <a:lnSpc>
                <a:spcPct val="100000"/>
              </a:lnSpc>
              <a:spcBef>
                <a:spcPts val="1184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22" b="0" i="0" u="none" strike="noStrike" kern="1200" cap="none" spc="0" normalizeH="0" baseline="0" noProof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3" name="Text Placeholder 1"/>
          <p:cNvSpPr txBox="1">
            <a:spLocks/>
          </p:cNvSpPr>
          <p:nvPr userDrawn="1"/>
        </p:nvSpPr>
        <p:spPr bwMode="gray">
          <a:xfrm>
            <a:off x="6972928" y="2743202"/>
            <a:ext cx="1829277" cy="1543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8039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37" marR="0" lvl="0" indent="0" algn="l" defTabSz="902421" rtl="0" eaLnBrk="1" fontAlgn="auto" latinLnBrk="0" hangingPunct="1">
              <a:lnSpc>
                <a:spcPct val="100000"/>
              </a:lnSpc>
              <a:spcBef>
                <a:spcPts val="1184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88" b="0" i="1" u="none" strike="noStrike" kern="1200" cap="none" spc="0" normalizeH="0" baseline="0" noProof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7" name="Text Placeholder 1"/>
          <p:cNvSpPr txBox="1">
            <a:spLocks/>
          </p:cNvSpPr>
          <p:nvPr userDrawn="1"/>
        </p:nvSpPr>
        <p:spPr bwMode="gray">
          <a:xfrm>
            <a:off x="7887566" y="1828804"/>
            <a:ext cx="1028968" cy="3590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8039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37" marR="0" lvl="0" indent="0" algn="l" defTabSz="902421" rtl="0" eaLnBrk="1" fontAlgn="auto" latinLnBrk="0" hangingPunct="1">
              <a:lnSpc>
                <a:spcPct val="100000"/>
              </a:lnSpc>
              <a:spcBef>
                <a:spcPts val="1184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22" b="0" i="0" u="none" strike="noStrike" kern="1200" cap="none" spc="0" normalizeH="0" baseline="0" noProof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8" name="Text Placeholder 1"/>
          <p:cNvSpPr txBox="1">
            <a:spLocks/>
          </p:cNvSpPr>
          <p:nvPr userDrawn="1"/>
        </p:nvSpPr>
        <p:spPr bwMode="gray">
          <a:xfrm>
            <a:off x="7087257" y="2857502"/>
            <a:ext cx="1829277" cy="1543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8039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37" marR="0" lvl="0" indent="0" algn="l" defTabSz="902421" rtl="0" eaLnBrk="1" fontAlgn="auto" latinLnBrk="0" hangingPunct="1">
              <a:lnSpc>
                <a:spcPct val="100000"/>
              </a:lnSpc>
              <a:spcBef>
                <a:spcPts val="1184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88" b="0" i="1" u="none" strike="noStrike" kern="1200" cap="none" spc="0" normalizeH="0" baseline="0" noProof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231461" y="102967"/>
            <a:ext cx="685979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1" b="0" i="0" u="none" strike="noStrike" kern="1200" cap="none" spc="0" normalizeH="0" baseline="0" noProof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4493145" y="90096"/>
            <a:ext cx="685979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1" b="0" i="0" u="none" strike="noStrike" kern="1200" cap="none" spc="0" normalizeH="0" baseline="0" noProof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-215" y="2"/>
            <a:ext cx="2285621" cy="513911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3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Oracle red badge logo" descr="Oracle logo in white on red staging background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8966" y="4697730"/>
            <a:ext cx="1217463" cy="44577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2571228" y="78131"/>
            <a:ext cx="4058708" cy="5005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768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768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8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your AD or Partner listed before referencing</a:t>
            </a: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12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9042" y="4848880"/>
            <a:ext cx="463960" cy="177604"/>
          </a:xfrm>
        </p:spPr>
        <p:txBody>
          <a:bodyPr lIns="0" rIns="0"/>
          <a:lstStyle>
            <a:lvl1pPr algn="l">
              <a:defRPr sz="1036" b="1" i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1036" b="1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l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036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8244" y="4838832"/>
            <a:ext cx="2953760" cy="177604"/>
          </a:xfrm>
        </p:spPr>
        <p:txBody>
          <a:bodyPr lIns="0" rIns="0"/>
          <a:lstStyle>
            <a:lvl1pPr algn="l">
              <a:defRPr sz="888" b="0" i="0">
                <a:solidFill>
                  <a:srgbClr val="949DA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8" b="0" i="0" u="none" strike="noStrike" kern="1200" cap="none" spc="0" normalizeH="0" baseline="0" noProof="0">
                <a:ln>
                  <a:noFill/>
                </a:ln>
                <a:solidFill>
                  <a:srgbClr val="949DA5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© 2021 Apps Associates LLC - Company Confidential</a:t>
            </a:r>
            <a:endParaRPr kumimoji="0" lang="en-PH" sz="888" b="0" i="0" u="none" strike="noStrike" kern="1200" cap="none" spc="0" normalizeH="0" baseline="0" noProof="0">
              <a:ln>
                <a:noFill/>
              </a:ln>
              <a:solidFill>
                <a:srgbClr val="949DA5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0924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t2_cov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" y="1"/>
            <a:ext cx="9139909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3"/>
          <p:cNvSpPr>
            <a:spLocks noChangeShapeType="1"/>
          </p:cNvSpPr>
          <p:nvPr userDrawn="1"/>
        </p:nvSpPr>
        <p:spPr bwMode="auto">
          <a:xfrm flipH="1">
            <a:off x="3295626" y="2022574"/>
            <a:ext cx="26778" cy="1433216"/>
          </a:xfrm>
          <a:prstGeom prst="line">
            <a:avLst/>
          </a:prstGeom>
          <a:noFill/>
          <a:ln w="38100" cap="rnd">
            <a:solidFill>
              <a:srgbClr val="FFFFFF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4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76764" y="2009181"/>
            <a:ext cx="2041752" cy="1446610"/>
          </a:xfrm>
          <a:prstGeom prst="rect">
            <a:avLst/>
          </a:prstGeom>
          <a:noFill/>
          <a:ln>
            <a:noFill/>
          </a:ln>
          <a:effectLst>
            <a:outerShdw blurRad="50800" dist="76201" dir="2700000" rotWithShape="0">
              <a:srgbClr val="808080">
                <a:alpha val="42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041499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8918" y="4920084"/>
            <a:ext cx="370041" cy="22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80D79EA2-2E2F-44D8-88C2-62A427AF8999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800"/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42874" y="329314"/>
            <a:ext cx="7439487" cy="250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algn="l">
              <a:defRPr lang="en-US" sz="1500" b="1" kern="1200">
                <a:solidFill>
                  <a:srgbClr val="005FA0"/>
                </a:solidFill>
                <a:latin typeface="Arial" charset="0"/>
                <a:ea typeface="ＭＳ Ｐゴシック" pitchFamily="-104" charset="-128"/>
                <a:cs typeface="+mn-cs"/>
              </a:defRPr>
            </a:lvl1pPr>
          </a:lstStyle>
          <a:p>
            <a:pPr marL="0" lvl="0" algn="l" defTabSz="685800" latinLnBrk="0"/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3013" y="695325"/>
            <a:ext cx="7439025" cy="3877866"/>
          </a:xfrm>
          <a:prstGeom prst="rect">
            <a:avLst/>
          </a:prstGeom>
        </p:spPr>
        <p:txBody>
          <a:bodyPr lIns="9144" tIns="9144" rIns="9144" bIns="9144"/>
          <a:lstStyle>
            <a:lvl1pPr marL="214313" indent="-214313" algn="l">
              <a:buFont typeface="Arial" panose="020B0604020202020204" pitchFamily="34" charset="0"/>
              <a:buChar char="•"/>
              <a:defRPr sz="1050"/>
            </a:lvl1pPr>
            <a:lvl2pPr marL="411480" indent="0" algn="l">
              <a:buFont typeface="Courier New" panose="02070309020205020404" pitchFamily="49" charset="0"/>
              <a:buChar char="o"/>
              <a:defRPr sz="1050" baseline="0"/>
            </a:lvl2pPr>
            <a:lvl3pPr>
              <a:defRPr sz="225"/>
            </a:lvl3pPr>
          </a:lstStyle>
          <a:p>
            <a:r>
              <a:rPr lang="en-US" sz="1050" b="1">
                <a:latin typeface="Arial" panose="020B0604020202020204" pitchFamily="34" charset="0"/>
                <a:cs typeface="Arial" panose="020B0604020202020204" pitchFamily="34" charset="0"/>
              </a:rPr>
              <a:t>Insert Text 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3520176845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143125"/>
            <a:ext cx="8229600" cy="8572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defRPr sz="37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500">
                <a:solidFill>
                  <a:schemeClr val="bg2"/>
                </a:solidFill>
              </a:defRPr>
            </a:lvl2pPr>
            <a:lvl3pPr>
              <a:defRPr sz="4500">
                <a:solidFill>
                  <a:schemeClr val="bg2"/>
                </a:solidFill>
              </a:defRPr>
            </a:lvl3pPr>
            <a:lvl4pPr>
              <a:defRPr sz="4500">
                <a:solidFill>
                  <a:schemeClr val="bg2"/>
                </a:solidFill>
              </a:defRPr>
            </a:lvl4pPr>
            <a:lvl5pPr>
              <a:defRPr sz="4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86950825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143125"/>
            <a:ext cx="8229600" cy="857250"/>
          </a:xfrm>
          <a:prstGeom prst="rect">
            <a:avLst/>
          </a:prstGeom>
        </p:spPr>
        <p:txBody>
          <a:bodyPr anchor="ctr"/>
          <a:lstStyle>
            <a:lvl1pPr>
              <a:defRPr sz="37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500">
                <a:solidFill>
                  <a:schemeClr val="bg2"/>
                </a:solidFill>
              </a:defRPr>
            </a:lvl2pPr>
            <a:lvl3pPr>
              <a:defRPr sz="4500">
                <a:solidFill>
                  <a:schemeClr val="bg2"/>
                </a:solidFill>
              </a:defRPr>
            </a:lvl3pPr>
            <a:lvl4pPr>
              <a:defRPr sz="4500">
                <a:solidFill>
                  <a:schemeClr val="bg2"/>
                </a:solidFill>
              </a:defRPr>
            </a:lvl4pPr>
            <a:lvl5pPr>
              <a:defRPr sz="4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64162861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6DC04E6-2BBA-954A-8681-11D25E55E14B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35AA6-1741-D84A-9924-9F43F9EF8B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4905E6DB-0990-F043-8088-06395F7953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9316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rgbClr val="005F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143125"/>
            <a:ext cx="8229600" cy="857250"/>
          </a:xfrm>
          <a:prstGeom prst="rect">
            <a:avLst/>
          </a:prstGeom>
        </p:spPr>
        <p:txBody>
          <a:bodyPr anchor="ctr"/>
          <a:lstStyle>
            <a:lvl1pPr>
              <a:defRPr sz="37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500">
                <a:solidFill>
                  <a:schemeClr val="bg2"/>
                </a:solidFill>
              </a:defRPr>
            </a:lvl2pPr>
            <a:lvl3pPr>
              <a:defRPr sz="4500">
                <a:solidFill>
                  <a:schemeClr val="bg2"/>
                </a:solidFill>
              </a:defRPr>
            </a:lvl3pPr>
            <a:lvl4pPr>
              <a:defRPr sz="4500">
                <a:solidFill>
                  <a:schemeClr val="bg2"/>
                </a:solidFill>
              </a:defRPr>
            </a:lvl4pPr>
            <a:lvl5pPr>
              <a:defRPr sz="4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22072479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17" y="839"/>
          <a:ext cx="1116" cy="8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17" y="839"/>
                        <a:ext cx="1116" cy="8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2468980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1B3D83D2-FE7A-4BCE-A0A7-C1256E85C5EB}" type="datetime1">
              <a:rPr lang="en-US" sz="1350" smtClean="0">
                <a:solidFill>
                  <a:srgbClr val="000000"/>
                </a:solidFill>
              </a:rPr>
              <a:pPr defTabSz="685800"/>
              <a:t>12/11/2025</a:t>
            </a:fld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5A0E3FC5-A819-4563-B91C-CAED4B8654F0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800"/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1513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V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0221" y="2036887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6E0CA9-9701-E44D-BD2B-38D304563738}"/>
              </a:ext>
            </a:extLst>
          </p:cNvPr>
          <p:cNvSpPr/>
          <p:nvPr userDrawn="1"/>
        </p:nvSpPr>
        <p:spPr>
          <a:xfrm flipV="1">
            <a:off x="280220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8AEF12-0684-844C-9BCC-15E9BD109D8E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456803"/>
      </p:ext>
    </p:extLst>
  </p:cSld>
  <p:clrMapOvr>
    <a:masterClrMapping/>
  </p:clrMapOvr>
  <p:hf sldNum="0"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9000">
                <a:schemeClr val="accent4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3EAACC2-46FB-3B46-B257-C0E443A23A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7DB3903-5DFB-8D44-B0CF-D8A95961AD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2036887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5D22A1-6E45-BB48-BFD7-0259302992D2}"/>
              </a:ext>
            </a:extLst>
          </p:cNvPr>
          <p:cNvSpPr/>
          <p:nvPr userDrawn="1"/>
        </p:nvSpPr>
        <p:spPr>
          <a:xfrm flipV="1">
            <a:off x="280220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375077"/>
      </p:ext>
    </p:extLst>
  </p:cSld>
  <p:clrMapOvr>
    <a:masterClrMapping/>
  </p:clrMapOvr>
  <p:hf sldNum="0"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0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6"/>
            <a:ext cx="661850" cy="274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D3A411-F903-B84C-A60E-DBB4F961217A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090992"/>
      </p:ext>
    </p:extLst>
  </p:cSld>
  <p:clrMapOvr>
    <a:masterClrMapping/>
  </p:clrMapOvr>
  <p:hf sldNum="0"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153CCB41-91F5-6944-A65F-67E7F16F20AC}"/>
              </a:ext>
            </a:extLst>
          </p:cNvPr>
          <p:cNvGrpSpPr/>
          <p:nvPr userDrawn="1"/>
        </p:nvGrpSpPr>
        <p:grpSpPr>
          <a:xfrm>
            <a:off x="1" y="4721705"/>
            <a:ext cx="9143999" cy="431733"/>
            <a:chOff x="1" y="4721705"/>
            <a:chExt cx="9143999" cy="43173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214790E-DB84-5E49-8B34-D05E51D3AEBE}"/>
                </a:ext>
              </a:extLst>
            </p:cNvPr>
            <p:cNvSpPr/>
            <p:nvPr userDrawn="1"/>
          </p:nvSpPr>
          <p:spPr>
            <a:xfrm>
              <a:off x="1" y="4721705"/>
              <a:ext cx="9143999" cy="431733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7BFA449-2A80-D942-830D-1DC3FA3C6F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234" y="4762819"/>
              <a:ext cx="1395478" cy="3495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4" y="1091381"/>
            <a:ext cx="8586643" cy="3280322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8650" indent="-285750">
              <a:buFont typeface="Arial" panose="020B0604020202020204" pitchFamily="34" charset="0"/>
              <a:buChar char="•"/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71550" indent="-285750">
              <a:buFont typeface="Arial" panose="020B0604020202020204" pitchFamily="34" charset="0"/>
              <a:buChar char="•"/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200150" indent="-171450">
              <a:buFont typeface="Arial" panose="020B0604020202020204" pitchFamily="34" charset="0"/>
              <a:buChar char="•"/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43050" indent="-171450">
              <a:buFont typeface="Arial" panose="020B0604020202020204" pitchFamily="34" charset="0"/>
              <a:buChar char="•"/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6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3 Apps Associates LLC - Company Confidential</a:t>
            </a:r>
            <a:endParaRPr lang="en-PH"/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70FB82A6-D4B0-214C-9B22-18BBE0E409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396658259"/>
      </p:ext>
    </p:extLst>
  </p:cSld>
  <p:clrMapOvr>
    <a:masterClrMapping/>
  </p:clrMapOvr>
  <p:hf sldNum="0"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3C121E6-7270-B344-B20C-4513FE4BAD1A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4" y="1091381"/>
            <a:ext cx="4233256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0" y="1091381"/>
            <a:ext cx="4233256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828BB631-2CC8-DB48-9F41-CA0E84D878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  <p:sp>
        <p:nvSpPr>
          <p:cNvPr id="13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29250" y="4800649"/>
            <a:ext cx="3086100" cy="273844"/>
          </a:xfrm>
        </p:spPr>
        <p:txBody>
          <a:bodyPr/>
          <a:lstStyle/>
          <a:p>
            <a:r>
              <a:rPr lang="en-US"/>
              <a:t>© 2023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15021869"/>
      </p:ext>
    </p:extLst>
  </p:cSld>
  <p:clrMapOvr>
    <a:masterClrMapping/>
  </p:clrMapOvr>
  <p:hf sldNum="0"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F8FEB8A-46A6-8B40-89D1-2CEA1D3C0A62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885813" y="1091381"/>
            <a:ext cx="5979503" cy="3263504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FBC24B82-C150-1C48-89DC-A73D35A786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8674" y="4112779"/>
            <a:ext cx="2247596" cy="242106"/>
          </a:xfrm>
          <a:solidFill>
            <a:schemeClr val="accent3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Captio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64A9C7-80AE-6247-92C2-032B03D25ED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8674" y="1091381"/>
            <a:ext cx="2247596" cy="3021398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61505D-683C-0D44-8CFE-BC5F5D12924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  <p:sp>
        <p:nvSpPr>
          <p:cNvPr id="14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29250" y="4800649"/>
            <a:ext cx="3086100" cy="273844"/>
          </a:xfrm>
        </p:spPr>
        <p:txBody>
          <a:bodyPr/>
          <a:lstStyle/>
          <a:p>
            <a:r>
              <a:rPr lang="en-US"/>
              <a:t>© 2023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313825008"/>
      </p:ext>
    </p:extLst>
  </p:cSld>
  <p:clrMapOvr>
    <a:masterClrMapping/>
  </p:clrMapOvr>
  <p:hf sldNum="0"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6DC04E6-2BBA-954A-8681-11D25E55E14B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4905E6DB-0990-F043-8088-06395F7953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  <p:sp>
        <p:nvSpPr>
          <p:cNvPr id="8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29250" y="4800649"/>
            <a:ext cx="3086100" cy="273844"/>
          </a:xfrm>
        </p:spPr>
        <p:txBody>
          <a:bodyPr/>
          <a:lstStyle/>
          <a:p>
            <a:r>
              <a:rPr lang="en-US"/>
              <a:t>© 2023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986471481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5C56F7-249F-ED43-8344-EB7A4A8E120B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727F0A-432F-B04D-80B9-C482F377F8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1D4E5D6-DB3D-504B-8D90-A48B1863B0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6298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5C56F7-249F-ED43-8344-EB7A4A8E120B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1D4E5D6-DB3D-504B-8D90-A48B1863B0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  <p:sp>
        <p:nvSpPr>
          <p:cNvPr id="6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29250" y="4800649"/>
            <a:ext cx="3086100" cy="273844"/>
          </a:xfrm>
        </p:spPr>
        <p:txBody>
          <a:bodyPr/>
          <a:lstStyle/>
          <a:p>
            <a:r>
              <a:rPr lang="en-US"/>
              <a:t>© 2023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780690492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6C56AEFC-EFED-DA4F-B05E-9D986D8DD603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6" y="1725644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4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4" y="3158765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7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5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5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3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1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1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4" y="1699748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2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2" y="3132869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3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3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3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54EBC3-4AC4-DE44-AABF-1DF0F09CCE3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  <p:sp>
        <p:nvSpPr>
          <p:cNvPr id="27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29250" y="4800649"/>
            <a:ext cx="3086100" cy="273844"/>
          </a:xfrm>
        </p:spPr>
        <p:txBody>
          <a:bodyPr/>
          <a:lstStyle/>
          <a:p>
            <a:r>
              <a:rPr lang="en-US"/>
              <a:t>© 2023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824611121"/>
      </p:ext>
    </p:extLst>
  </p:cSld>
  <p:clrMapOvr>
    <a:masterClrMapping/>
  </p:clrMapOvr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0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 userDrawn="1"/>
        </p:nvSpPr>
        <p:spPr>
          <a:xfrm flipV="1">
            <a:off x="280220" y="1395406"/>
            <a:ext cx="66185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D68707-FBCF-C04C-AAEA-2F8EB1FC7B3D}"/>
              </a:ext>
            </a:extLst>
          </p:cNvPr>
          <p:cNvSpPr/>
          <p:nvPr userDrawn="1"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6200000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552382"/>
      </p:ext>
    </p:extLst>
  </p:cSld>
  <p:clrMapOvr>
    <a:masterClrMapping/>
  </p:clrMapOvr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7" name="Title 15">
            <a:extLst>
              <a:ext uri="{FF2B5EF4-FFF2-40B4-BE49-F238E27FC236}">
                <a16:creationId xmlns:a16="http://schemas.microsoft.com/office/drawing/2014/main" id="{A6DB194C-D94D-454C-AA03-059EDA06E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880843"/>
      </p:ext>
    </p:extLst>
  </p:cSld>
  <p:clrMapOvr>
    <a:masterClrMapping/>
  </p:clrMapOvr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47FDCF11-6B39-A445-8A7D-7ECB0250DE18}"/>
              </a:ext>
            </a:extLst>
          </p:cNvPr>
          <p:cNvSpPr txBox="1">
            <a:spLocks/>
          </p:cNvSpPr>
          <p:nvPr userDrawn="1"/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400891"/>
      </p:ext>
    </p:extLst>
  </p:cSld>
  <p:clrMapOvr>
    <a:masterClrMapping/>
  </p:clrMapOvr>
  <p:hf sldNum="0"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A3B3B77D-5279-2343-B4EF-51FE7CF25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688218"/>
      </p:ext>
    </p:extLst>
  </p:cSld>
  <p:clrMapOvr>
    <a:masterClrMapping/>
  </p:clrMapOvr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5964573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3" name="Title 15">
            <a:extLst>
              <a:ext uri="{FF2B5EF4-FFF2-40B4-BE49-F238E27FC236}">
                <a16:creationId xmlns:a16="http://schemas.microsoft.com/office/drawing/2014/main" id="{1D9389B5-71BD-8C4B-934A-392DEA674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701404"/>
      </p:ext>
    </p:extLst>
  </p:cSld>
  <p:clrMapOvr>
    <a:masterClrMapping/>
  </p:clrMapOvr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914400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FFEFAC7-43B3-A848-9DE4-D8C41BCE9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063412"/>
      </p:ext>
    </p:extLst>
  </p:cSld>
  <p:clrMapOvr>
    <a:masterClrMapping/>
  </p:clrMapOvr>
  <p:hf sldNum="0"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1E20EB-559A-AF48-9337-DC356FE06BBF}"/>
              </a:ext>
            </a:extLst>
          </p:cNvPr>
          <p:cNvSpPr/>
          <p:nvPr userDrawn="1"/>
        </p:nvSpPr>
        <p:spPr>
          <a:xfrm>
            <a:off x="-1" y="0"/>
            <a:ext cx="5402511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32CE8942-2E2F-D443-BEED-4B53E3A95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238932"/>
      </p:ext>
    </p:extLst>
  </p:cSld>
  <p:clrMapOvr>
    <a:masterClrMapping/>
  </p:clrMapOvr>
  <p:hf sldNum="0"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5">
            <a:extLst>
              <a:ext uri="{FF2B5EF4-FFF2-40B4-BE49-F238E27FC236}">
                <a16:creationId xmlns:a16="http://schemas.microsoft.com/office/drawing/2014/main" id="{671B0571-BD52-C24A-9AEF-590AE38CD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1191209"/>
            <a:ext cx="6785598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9A8192-0D1C-F04C-AA43-EA0E71D8D7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0" y="4551352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38820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6C56AEFC-EFED-DA4F-B05E-9D986D8DD603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5" y="326586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 userDrawn="1"/>
        </p:nvSpPr>
        <p:spPr>
          <a:xfrm flipV="1">
            <a:off x="280220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BDE112F8-7A2F-4442-B1CD-4C14852C704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87796" y="1725644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E084EA2-00F4-044F-8650-E2A42297C9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2144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80F5BCD-250E-184A-B134-FC0103109A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2144" y="3158765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51750C6B-FFB5-684B-8D5B-E2BD20651C9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2216077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9A14931-D3A6-DC41-AC44-DEC1DD3CB7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60425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9FC7DC16-3038-5240-98E9-6CD1CB94D3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60425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33611585-40A4-CF45-AF5C-C3ABC57CC56B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3951653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AD0374F-2DB9-1C4B-9BA5-3D9A82562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96001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CFAC9D3D-6972-EE4A-9572-712CA72A4C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96001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5339E9C-E3AB-524F-A7BA-E5BAA8A8DB4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679934" y="1699748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0FC8AE38-DC43-8F45-AC70-4035973265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282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A1C098B8-1067-E543-9998-C67B7D8399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24282" y="3132869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D382ECBC-28F1-CC40-919C-72DD9C5713F4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7385623" y="1712696"/>
            <a:ext cx="1240693" cy="1209414"/>
          </a:xfrm>
          <a:prstGeom prst="ellipse">
            <a:avLst/>
          </a:prstGeom>
          <a:ln w="25400">
            <a:solidFill>
              <a:schemeClr val="bg1">
                <a:lumMod val="95000"/>
              </a:schemeClr>
            </a:soli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rtlCol="0" anchor="ctr">
            <a:normAutofit/>
          </a:bodyPr>
          <a:lstStyle>
            <a:lvl1pPr algn="ctr">
              <a:buFontTx/>
              <a:buNone/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2395AAF5-66EF-484E-BB8D-3A6278F348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28803" y="3512672"/>
            <a:ext cx="1554332" cy="224768"/>
          </a:xfrm>
        </p:spPr>
        <p:txBody>
          <a:bodyPr>
            <a:noAutofit/>
          </a:bodyPr>
          <a:lstStyle>
            <a:lvl1pPr marL="0" indent="0" algn="ctr">
              <a:buNone/>
              <a:defRPr sz="9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805EAFA-8A5E-9244-8724-C2F10C4D28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28803" y="3145817"/>
            <a:ext cx="1554332" cy="30480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618F6-CDD5-2F45-990B-F206C90CC6BA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54EBC3-4AC4-DE44-AABF-1DF0F09CCE3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74538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 with Image - 1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F64444-94CA-6C4D-8740-EC845C1E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5408" y="0"/>
            <a:ext cx="6538591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090549"/>
      </p:ext>
    </p:extLst>
  </p:cSld>
  <p:clrMapOvr>
    <a:masterClrMapping/>
  </p:clrMapOvr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-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486A7EE-9706-DB4D-A4D0-BBEB1E2F6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1" y="0"/>
            <a:ext cx="4572000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BAD689E-4521-8D4F-BE91-2FD13B7239FA}"/>
              </a:ext>
            </a:extLst>
          </p:cNvPr>
          <p:cNvSpPr/>
          <p:nvPr userDrawn="1"/>
        </p:nvSpPr>
        <p:spPr>
          <a:xfrm>
            <a:off x="-1" y="0"/>
            <a:ext cx="6283843" cy="5143500"/>
          </a:xfrm>
          <a:custGeom>
            <a:avLst/>
            <a:gdLst>
              <a:gd name="connsiteX0" fmla="*/ 0 w 7029974"/>
              <a:gd name="connsiteY0" fmla="*/ 0 h 5143500"/>
              <a:gd name="connsiteX1" fmla="*/ 7029974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  <a:gd name="connsiteX0" fmla="*/ 0 w 7029974"/>
              <a:gd name="connsiteY0" fmla="*/ 0 h 5143500"/>
              <a:gd name="connsiteX1" fmla="*/ 5805182 w 7029974"/>
              <a:gd name="connsiteY1" fmla="*/ 0 h 5143500"/>
              <a:gd name="connsiteX2" fmla="*/ 7029974 w 7029974"/>
              <a:gd name="connsiteY2" fmla="*/ 5143500 h 5143500"/>
              <a:gd name="connsiteX3" fmla="*/ 0 w 7029974"/>
              <a:gd name="connsiteY3" fmla="*/ 5143500 h 5143500"/>
              <a:gd name="connsiteX4" fmla="*/ 0 w 7029974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29974" h="5143500">
                <a:moveTo>
                  <a:pt x="0" y="0"/>
                </a:moveTo>
                <a:lnTo>
                  <a:pt x="5805182" y="0"/>
                </a:lnTo>
                <a:lnTo>
                  <a:pt x="7029974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  <a:effectLst>
            <a:outerShdw blurRad="495300" dist="38100" algn="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924C4E5-7683-4C42-A4A6-48CF33F4DA7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0221" y="1581163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5">
            <a:extLst>
              <a:ext uri="{FF2B5EF4-FFF2-40B4-BE49-F238E27FC236}">
                <a16:creationId xmlns:a16="http://schemas.microsoft.com/office/drawing/2014/main" id="{35E22A51-DD7D-AA4E-92A9-D58DEE227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20" y="685499"/>
            <a:ext cx="4823003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7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529370"/>
      </p:ext>
    </p:extLst>
  </p:cSld>
  <p:clrMapOvr>
    <a:masterClrMapping/>
  </p:clrMapOvr>
  <p:hf sldNum="0"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499" y="1445641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2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7" y="4398104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708032"/>
      </p:ext>
    </p:extLst>
  </p:cSld>
  <p:clrMapOvr>
    <a:masterClrMapping/>
  </p:clrMapOvr>
  <p:hf sldNum="0"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5C56F7-249F-ED43-8344-EB7A4A8E120B}"/>
              </a:ext>
            </a:extLst>
          </p:cNvPr>
          <p:cNvSpPr/>
          <p:nvPr userDrawn="1"/>
        </p:nvSpPr>
        <p:spPr>
          <a:xfrm>
            <a:off x="1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1D4E5D6-DB3D-504B-8D90-A48B1863B0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9CCBEC-9570-E746-998E-A813A530B25B}"/>
              </a:ext>
            </a:extLst>
          </p:cNvPr>
          <p:cNvSpPr/>
          <p:nvPr userDrawn="1"/>
        </p:nvSpPr>
        <p:spPr>
          <a:xfrm>
            <a:off x="1881051" y="1223345"/>
            <a:ext cx="1097281" cy="109728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37BEC-606B-7641-BE27-E7B1F0482B89}"/>
              </a:ext>
            </a:extLst>
          </p:cNvPr>
          <p:cNvSpPr/>
          <p:nvPr userDrawn="1"/>
        </p:nvSpPr>
        <p:spPr>
          <a:xfrm>
            <a:off x="3178628" y="1223345"/>
            <a:ext cx="1097281" cy="10972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D06D8D-CB0B-E844-8CF4-8D6E4FC510EF}"/>
              </a:ext>
            </a:extLst>
          </p:cNvPr>
          <p:cNvSpPr/>
          <p:nvPr userDrawn="1"/>
        </p:nvSpPr>
        <p:spPr>
          <a:xfrm>
            <a:off x="3178628" y="2471988"/>
            <a:ext cx="1097281" cy="10972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A62054-7EBD-714F-A545-F938A41D1947}"/>
              </a:ext>
            </a:extLst>
          </p:cNvPr>
          <p:cNvSpPr/>
          <p:nvPr userDrawn="1"/>
        </p:nvSpPr>
        <p:spPr>
          <a:xfrm>
            <a:off x="5773782" y="1223345"/>
            <a:ext cx="1097281" cy="1097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47DFAC-8998-2542-BD3E-F8526126279C}"/>
              </a:ext>
            </a:extLst>
          </p:cNvPr>
          <p:cNvSpPr/>
          <p:nvPr userDrawn="1"/>
        </p:nvSpPr>
        <p:spPr>
          <a:xfrm>
            <a:off x="4476205" y="1238480"/>
            <a:ext cx="1097281" cy="10972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F10057-588D-C549-858E-469BB799460F}"/>
              </a:ext>
            </a:extLst>
          </p:cNvPr>
          <p:cNvSpPr/>
          <p:nvPr userDrawn="1"/>
        </p:nvSpPr>
        <p:spPr>
          <a:xfrm>
            <a:off x="1881051" y="2483805"/>
            <a:ext cx="1097281" cy="10972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7ADC94-0AD7-AB4F-9CE4-4A0DC636FC3A}"/>
              </a:ext>
            </a:extLst>
          </p:cNvPr>
          <p:cNvSpPr/>
          <p:nvPr userDrawn="1"/>
        </p:nvSpPr>
        <p:spPr>
          <a:xfrm>
            <a:off x="4476205" y="2471988"/>
            <a:ext cx="1097281" cy="10972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D34BEE-10C8-FB4E-8C36-1A6E063CE732}"/>
              </a:ext>
            </a:extLst>
          </p:cNvPr>
          <p:cNvSpPr/>
          <p:nvPr userDrawn="1"/>
        </p:nvSpPr>
        <p:spPr>
          <a:xfrm>
            <a:off x="5773782" y="2471988"/>
            <a:ext cx="1097281" cy="109728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4" y="4762819"/>
            <a:ext cx="1395478" cy="349504"/>
          </a:xfrm>
          <a:prstGeom prst="rect">
            <a:avLst/>
          </a:prstGeom>
        </p:spPr>
      </p:pic>
      <p:sp>
        <p:nvSpPr>
          <p:cNvPr id="18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29250" y="4800649"/>
            <a:ext cx="3086100" cy="273844"/>
          </a:xfrm>
        </p:spPr>
        <p:txBody>
          <a:bodyPr/>
          <a:lstStyle/>
          <a:p>
            <a:r>
              <a:rPr lang="en-US"/>
              <a:t>© 2023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13698940"/>
      </p:ext>
    </p:extLst>
  </p:cSld>
  <p:clrMapOvr>
    <a:masterClrMapping/>
  </p:clrMapOvr>
  <p:hf sldNum="0"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 userDrawn="1"/>
        </p:nvSpPr>
        <p:spPr>
          <a:xfrm>
            <a:off x="-1" y="0"/>
            <a:ext cx="9143999" cy="51435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60499" y="1445641"/>
            <a:ext cx="4823003" cy="659606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 userDrawn="1"/>
        </p:nvSpPr>
        <p:spPr>
          <a:xfrm>
            <a:off x="0" y="4210493"/>
            <a:ext cx="9144000" cy="933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D77D08-43EF-214E-A675-652227560E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457" y="4398104"/>
            <a:ext cx="2227086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5998"/>
      </p:ext>
    </p:extLst>
  </p:cSld>
  <p:clrMapOvr>
    <a:masterClrMapping/>
  </p:clrMapOvr>
  <p:hf sldNum="0"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V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>
                  <a:alpha val="78000"/>
                </a:schemeClr>
              </a:gs>
              <a:gs pos="100000">
                <a:schemeClr val="accent4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0222" y="2036888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6E0CA9-9701-E44D-BD2B-38D304563738}"/>
              </a:ext>
            </a:extLst>
          </p:cNvPr>
          <p:cNvSpPr/>
          <p:nvPr/>
        </p:nvSpPr>
        <p:spPr>
          <a:xfrm flipV="1">
            <a:off x="280221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8AEF12-0684-844C-9BCC-15E9BD109D8E}"/>
              </a:ext>
            </a:extLst>
          </p:cNvPr>
          <p:cNvSpPr/>
          <p:nvPr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00731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V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882E70-82EA-2A44-A7F0-7CB90296E0D4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9000">
                <a:schemeClr val="accent4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60747B-BBF9-6F49-8BD5-B4AF6CFE7813}"/>
              </a:ext>
            </a:extLst>
          </p:cNvPr>
          <p:cNvSpPr/>
          <p:nvPr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3EAACC2-46FB-3B46-B257-C0E443A23A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220" y="595762"/>
            <a:ext cx="6702471" cy="65960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6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7DB3903-5DFB-8D44-B0CF-D8A95961AD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2" y="2036888"/>
            <a:ext cx="4823003" cy="1353625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5D22A1-6E45-BB48-BFD7-0259302992D2}"/>
              </a:ext>
            </a:extLst>
          </p:cNvPr>
          <p:cNvSpPr/>
          <p:nvPr/>
        </p:nvSpPr>
        <p:spPr>
          <a:xfrm flipV="1">
            <a:off x="280221" y="1623268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539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2BCBC-218F-584A-A93C-D5BB2C65F7F1}"/>
              </a:ext>
            </a:extLst>
          </p:cNvPr>
          <p:cNvSpPr/>
          <p:nvPr/>
        </p:nvSpPr>
        <p:spPr>
          <a:xfrm>
            <a:off x="2" y="0"/>
            <a:ext cx="9143999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9F5532B-3D95-1C4E-B8A4-143CB4DF6B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0221" y="595762"/>
            <a:ext cx="4823003" cy="65960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16C998-8879-6448-89E3-0D4DF32D1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222" y="1581164"/>
            <a:ext cx="4823003" cy="1353625"/>
          </a:xfrm>
        </p:spPr>
        <p:txBody>
          <a:bodyPr anchor="t" anchorCtr="0">
            <a:normAutofit/>
          </a:bodyPr>
          <a:lstStyle>
            <a:lvl1pPr marL="342892" indent="-342892" algn="l">
              <a:buFont typeface="Arial" panose="020B0604020202020204" pitchFamily="34" charset="0"/>
              <a:buChar char="•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CCD932-05DE-1C45-9E28-391BFC45F79C}"/>
              </a:ext>
            </a:extLst>
          </p:cNvPr>
          <p:cNvSpPr/>
          <p:nvPr/>
        </p:nvSpPr>
        <p:spPr>
          <a:xfrm flipV="1">
            <a:off x="280221" y="1395406"/>
            <a:ext cx="661850" cy="274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D3A411-F903-B84C-A60E-DBB4F961217A}"/>
              </a:ext>
            </a:extLst>
          </p:cNvPr>
          <p:cNvSpPr/>
          <p:nvPr/>
        </p:nvSpPr>
        <p:spPr>
          <a:xfrm>
            <a:off x="0" y="4483894"/>
            <a:ext cx="9144000" cy="6596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95300" dist="38100" dir="16200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48ABAE-69C9-AF41-B147-7671E0DE72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8" y="4551352"/>
            <a:ext cx="2234041" cy="55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30729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153CCB41-91F5-6944-A65F-67E7F16F20AC}"/>
              </a:ext>
            </a:extLst>
          </p:cNvPr>
          <p:cNvGrpSpPr/>
          <p:nvPr/>
        </p:nvGrpSpPr>
        <p:grpSpPr>
          <a:xfrm>
            <a:off x="2" y="4721705"/>
            <a:ext cx="9143999" cy="431733"/>
            <a:chOff x="1" y="4721705"/>
            <a:chExt cx="9143999" cy="43173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214790E-DB84-5E49-8B34-D05E51D3AEBE}"/>
                </a:ext>
              </a:extLst>
            </p:cNvPr>
            <p:cNvSpPr/>
            <p:nvPr userDrawn="1"/>
          </p:nvSpPr>
          <p:spPr>
            <a:xfrm>
              <a:off x="1" y="4721705"/>
              <a:ext cx="9143999" cy="431733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7BFA449-2A80-D942-830D-1DC3FA3C6F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234" y="4762819"/>
              <a:ext cx="1395478" cy="3495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8675" y="1091382"/>
            <a:ext cx="8586643" cy="3280322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 baseline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28634" indent="-285743">
              <a:buFont typeface="Arial" panose="020B0604020202020204" pitchFamily="34" charset="0"/>
              <a:buChar char="•"/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971526" indent="-285743">
              <a:buFont typeface="Arial" panose="020B0604020202020204" pitchFamily="34" charset="0"/>
              <a:buChar char="•"/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200120" indent="-171446">
              <a:buFont typeface="Arial" panose="020B0604020202020204" pitchFamily="34" charset="0"/>
              <a:buChar char="•"/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543012" indent="-171446">
              <a:buFont typeface="Arial" panose="020B0604020202020204" pitchFamily="34" charset="0"/>
              <a:buChar char="•"/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46" name="Footer Placeholder 45">
            <a:extLst>
              <a:ext uri="{FF2B5EF4-FFF2-40B4-BE49-F238E27FC236}">
                <a16:creationId xmlns:a16="http://schemas.microsoft.com/office/drawing/2014/main" id="{EF4F562E-A070-CA4A-991C-E157E0DBFE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70FB82A6-D4B0-214C-9B22-18BBE0E409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6643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3C121E6-7270-B344-B20C-4513FE4BAD1A}"/>
              </a:ext>
            </a:extLst>
          </p:cNvPr>
          <p:cNvSpPr/>
          <p:nvPr/>
        </p:nvSpPr>
        <p:spPr>
          <a:xfrm>
            <a:off x="2" y="4721705"/>
            <a:ext cx="9143999" cy="4317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8676" y="326587"/>
            <a:ext cx="8586641" cy="4247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11D38F-055F-B94F-98A2-16C10DA5835A}"/>
              </a:ext>
            </a:extLst>
          </p:cNvPr>
          <p:cNvSpPr/>
          <p:nvPr/>
        </p:nvSpPr>
        <p:spPr>
          <a:xfrm flipV="1">
            <a:off x="280221" y="923657"/>
            <a:ext cx="661850" cy="27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D5FC439-27E4-2146-B8C9-BEE23434437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78675" y="1091382"/>
            <a:ext cx="4233256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79CCAE-A7F5-A740-8210-4B1E8029E8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32060" y="1091382"/>
            <a:ext cx="4233256" cy="3263504"/>
          </a:xfrm>
        </p:spPr>
        <p:txBody>
          <a:bodyPr>
            <a:normAutofit/>
          </a:bodyPr>
          <a:lstStyle>
            <a:lvl1pPr marL="285743" indent="-285743">
              <a:buFont typeface="Arial" panose="020B0604020202020204" pitchFamily="34" charset="0"/>
              <a:buChar char="•"/>
              <a:defRPr sz="18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6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4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000" b="0" i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Footer Placeholder 40">
            <a:extLst>
              <a:ext uri="{FF2B5EF4-FFF2-40B4-BE49-F238E27FC236}">
                <a16:creationId xmlns:a16="http://schemas.microsoft.com/office/drawing/2014/main" id="{3616FDA6-5B43-6041-B1E4-22F99F5769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828BB631-2CC8-DB48-9F41-CA0E84D878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BFA449-2A80-D942-830D-1DC3FA3C6F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5" y="4762820"/>
            <a:ext cx="1395478" cy="34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957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8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20.emf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19.jpe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18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1.xml"/><Relationship Id="rId14" Type="http://schemas.openxmlformats.org/officeDocument/2006/relationships/image" Target="../media/image17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slideLayout" Target="../slideLayouts/slideLayout149.xml"/><Relationship Id="rId33" Type="http://schemas.openxmlformats.org/officeDocument/2006/relationships/theme" Target="../theme/theme6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29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48.xml"/><Relationship Id="rId32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28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31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slideLayout" Target="../slideLayouts/slideLayout151.xml"/><Relationship Id="rId30" Type="http://schemas.openxmlformats.org/officeDocument/2006/relationships/slideLayout" Target="../slideLayouts/slideLayout154.xml"/><Relationship Id="rId8" Type="http://schemas.openxmlformats.org/officeDocument/2006/relationships/slideLayout" Target="../slideLayouts/slideLayout1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675" y="273844"/>
            <a:ext cx="8586641" cy="555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674" y="1091381"/>
            <a:ext cx="8586642" cy="3541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C901AF6-2EEB-AF46-8B40-512A72D424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29250" y="4800649"/>
            <a:ext cx="30861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© 2021 Apps Associates LLC - Company Confidential</a:t>
            </a:r>
            <a:endParaRPr lang="en-PH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9AC6E6-A09D-1546-A02E-A1E2D94D2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372" y="4800649"/>
            <a:ext cx="25294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991474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01" r:id="rId21"/>
    <p:sldLayoutId id="2147483704" r:id="rId22"/>
    <p:sldLayoutId id="2147483662" r:id="rId23"/>
    <p:sldLayoutId id="2147483705" r:id="rId24"/>
    <p:sldLayoutId id="2147483706" r:id="rId25"/>
    <p:sldLayoutId id="2147483707" r:id="rId26"/>
    <p:sldLayoutId id="2147483708" r:id="rId27"/>
    <p:sldLayoutId id="2147483718" r:id="rId28"/>
    <p:sldLayoutId id="2147483715" r:id="rId29"/>
    <p:sldLayoutId id="2147483716" r:id="rId30"/>
    <p:sldLayoutId id="2147483717" r:id="rId31"/>
    <p:sldLayoutId id="2147483740" r:id="rId3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85750" indent="-2857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+mj-lt"/>
          <a:ea typeface="+mn-ea"/>
          <a:cs typeface="+mn-cs"/>
        </a:defRPr>
      </a:lvl1pPr>
      <a:lvl2pPr marL="628650" indent="-2857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600" kern="1200">
          <a:solidFill>
            <a:schemeClr val="accent4"/>
          </a:solidFill>
          <a:latin typeface="+mj-lt"/>
          <a:ea typeface="+mn-ea"/>
          <a:cs typeface="+mn-cs"/>
        </a:defRPr>
      </a:lvl2pPr>
      <a:lvl3pPr marL="971550" indent="-2857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accent4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200" kern="1200">
          <a:solidFill>
            <a:schemeClr val="accent4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»"/>
        <a:defRPr sz="1000" kern="1200">
          <a:solidFill>
            <a:schemeClr val="accent4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677" y="273844"/>
            <a:ext cx="8586641" cy="555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674" y="1091381"/>
            <a:ext cx="8586642" cy="3541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C901AF6-2EEB-AF46-8B40-512A72D424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29250" y="4800649"/>
            <a:ext cx="30861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87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7" b="0" i="0" u="none" strike="noStrike" kern="1200" cap="none" spc="0" normalizeH="0" baseline="0" noProof="0">
                <a:ln>
                  <a:noFill/>
                </a:ln>
                <a:solidFill>
                  <a:srgbClr val="CDD1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2021 Apps Associates LLC - Company Confidential</a:t>
            </a:r>
            <a:endParaRPr kumimoji="0" lang="en-PH" sz="987" b="0" i="0" u="none" strike="noStrike" kern="1200" cap="none" spc="0" normalizeH="0" baseline="0" noProof="0">
              <a:ln>
                <a:noFill/>
              </a:ln>
              <a:solidFill>
                <a:srgbClr val="CDD1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9AC6E6-A09D-1546-A02E-A1E2D94D2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373" y="4800649"/>
            <a:ext cx="25294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87" b="1">
                <a:solidFill>
                  <a:schemeClr val="accent3"/>
                </a:solidFill>
              </a:defRPr>
            </a:lvl1pPr>
          </a:lstStyle>
          <a:p>
            <a:pPr marL="0" marR="0" lvl="0" indent="0" algn="r" defTabSz="451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AABBF-AE9B-4493-965C-093340ED73BB}" type="slidenum">
              <a:rPr kumimoji="0" lang="en-PH" sz="987" b="1" i="0" u="none" strike="noStrike" kern="1200" cap="none" spc="0" normalizeH="0" baseline="0" noProof="0" smtClean="0">
                <a:ln>
                  <a:noFill/>
                </a:ln>
                <a:solidFill>
                  <a:srgbClr val="1A4F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1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987" b="1" i="0" u="none" strike="noStrike" kern="1200" cap="none" spc="0" normalizeH="0" baseline="0" noProof="0">
              <a:ln>
                <a:noFill/>
              </a:ln>
              <a:solidFill>
                <a:srgbClr val="1A4F7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3344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1" r:id="rId26"/>
    <p:sldLayoutId id="2147483792" r:id="rId27"/>
    <p:sldLayoutId id="2147483793" r:id="rId28"/>
    <p:sldLayoutId id="2147483794" r:id="rId29"/>
    <p:sldLayoutId id="2147483795" r:id="rId30"/>
    <p:sldLayoutId id="2147483796" r:id="rId31"/>
    <p:sldLayoutId id="2147483797" r:id="rId32"/>
    <p:sldLayoutId id="2147483798" r:id="rId33"/>
  </p:sldLayoutIdLst>
  <p:hf hdr="0" dt="0"/>
  <p:txStyles>
    <p:titleStyle>
      <a:lvl1pPr algn="l" defTabSz="676816" rtl="0" eaLnBrk="1" latinLnBrk="0" hangingPunct="1">
        <a:lnSpc>
          <a:spcPct val="90000"/>
        </a:lnSpc>
        <a:spcBef>
          <a:spcPct val="0"/>
        </a:spcBef>
        <a:buNone/>
        <a:defRPr sz="2369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82007" indent="-282007" algn="l" defTabSz="676816" rtl="0" eaLnBrk="1" latinLnBrk="0" hangingPunct="1">
        <a:lnSpc>
          <a:spcPct val="90000"/>
        </a:lnSpc>
        <a:spcBef>
          <a:spcPts val="740"/>
        </a:spcBef>
        <a:buFont typeface="Arial" panose="020B0604020202020204" pitchFamily="34" charset="0"/>
        <a:buChar char="•"/>
        <a:defRPr sz="1776" kern="1200">
          <a:solidFill>
            <a:schemeClr val="accent4"/>
          </a:solidFill>
          <a:latin typeface="+mj-lt"/>
          <a:ea typeface="+mn-ea"/>
          <a:cs typeface="+mn-cs"/>
        </a:defRPr>
      </a:lvl1pPr>
      <a:lvl2pPr marL="620415" indent="-282007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–"/>
        <a:defRPr sz="1579" kern="1200">
          <a:solidFill>
            <a:schemeClr val="accent4"/>
          </a:solidFill>
          <a:latin typeface="+mj-lt"/>
          <a:ea typeface="+mn-ea"/>
          <a:cs typeface="+mn-cs"/>
        </a:defRPr>
      </a:lvl2pPr>
      <a:lvl3pPr marL="958823" indent="-282007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•"/>
        <a:defRPr sz="1382" kern="1200">
          <a:solidFill>
            <a:schemeClr val="accent4"/>
          </a:solidFill>
          <a:latin typeface="+mj-lt"/>
          <a:ea typeface="+mn-ea"/>
          <a:cs typeface="+mn-cs"/>
        </a:defRPr>
      </a:lvl3pPr>
      <a:lvl4pPr marL="1184428" indent="-169204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–"/>
        <a:defRPr sz="1184" kern="1200">
          <a:solidFill>
            <a:schemeClr val="accent4"/>
          </a:solidFill>
          <a:latin typeface="+mj-lt"/>
          <a:ea typeface="+mn-ea"/>
          <a:cs typeface="+mn-cs"/>
        </a:defRPr>
      </a:lvl4pPr>
      <a:lvl5pPr marL="1522836" indent="-169204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»"/>
        <a:defRPr sz="987" kern="1200">
          <a:solidFill>
            <a:schemeClr val="accent4"/>
          </a:solidFill>
          <a:latin typeface="+mj-lt"/>
          <a:ea typeface="+mn-ea"/>
          <a:cs typeface="+mn-cs"/>
        </a:defRPr>
      </a:lvl5pPr>
      <a:lvl6pPr marL="1861244" indent="-169204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•"/>
        <a:defRPr sz="1332" kern="1200">
          <a:solidFill>
            <a:schemeClr val="tx1"/>
          </a:solidFill>
          <a:latin typeface="+mn-lt"/>
          <a:ea typeface="+mn-ea"/>
          <a:cs typeface="+mn-cs"/>
        </a:defRPr>
      </a:lvl6pPr>
      <a:lvl7pPr marL="2199652" indent="-169204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•"/>
        <a:defRPr sz="1332" kern="1200">
          <a:solidFill>
            <a:schemeClr val="tx1"/>
          </a:solidFill>
          <a:latin typeface="+mn-lt"/>
          <a:ea typeface="+mn-ea"/>
          <a:cs typeface="+mn-cs"/>
        </a:defRPr>
      </a:lvl7pPr>
      <a:lvl8pPr marL="2538060" indent="-169204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•"/>
        <a:defRPr sz="1332" kern="1200">
          <a:solidFill>
            <a:schemeClr val="tx1"/>
          </a:solidFill>
          <a:latin typeface="+mn-lt"/>
          <a:ea typeface="+mn-ea"/>
          <a:cs typeface="+mn-cs"/>
        </a:defRPr>
      </a:lvl8pPr>
      <a:lvl9pPr marL="2876468" indent="-169204" algn="l" defTabSz="676816" rtl="0" eaLnBrk="1" latinLnBrk="0" hangingPunct="1">
        <a:lnSpc>
          <a:spcPct val="90000"/>
        </a:lnSpc>
        <a:spcBef>
          <a:spcPts val="370"/>
        </a:spcBef>
        <a:buFont typeface="Arial" panose="020B0604020202020204" pitchFamily="34" charset="0"/>
        <a:buChar char="•"/>
        <a:defRPr sz="13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1pPr>
      <a:lvl2pPr marL="338408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2pPr>
      <a:lvl3pPr marL="676816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3pPr>
      <a:lvl4pPr marL="1015224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4pPr>
      <a:lvl5pPr marL="1353632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5pPr>
      <a:lvl6pPr marL="1692040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6pPr>
      <a:lvl7pPr marL="2030448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7pPr>
      <a:lvl8pPr marL="2368856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8pPr>
      <a:lvl9pPr marL="2707264" algn="l" defTabSz="676816" rtl="0" eaLnBrk="1" latinLnBrk="0" hangingPunct="1">
        <a:defRPr sz="13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5" descr="t2_banner.eps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" y="0"/>
            <a:ext cx="87064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125016" y="4500564"/>
            <a:ext cx="642938" cy="455414"/>
          </a:xfrm>
          <a:prstGeom prst="rect">
            <a:avLst/>
          </a:prstGeom>
          <a:noFill/>
          <a:ln>
            <a:noFill/>
          </a:ln>
          <a:effectLst>
            <a:outerShdw blurRad="50800" dist="76201" dir="2700000" rotWithShape="0">
              <a:srgbClr val="808080">
                <a:alpha val="18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 userDrawn="1"/>
        </p:nvCxnSpPr>
        <p:spPr bwMode="auto">
          <a:xfrm>
            <a:off x="1250156" y="602755"/>
            <a:ext cx="7447359" cy="838"/>
          </a:xfrm>
          <a:prstGeom prst="line">
            <a:avLst/>
          </a:prstGeom>
          <a:blipFill dpi="0" rotWithShape="0">
            <a:blip r:embed="rId14"/>
            <a:srcRect/>
            <a:tile tx="0" ty="0" sx="100000" sy="100000" flip="none" algn="tl"/>
          </a:blipFill>
          <a:ln w="22225" cap="flat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1250156" y="4942583"/>
            <a:ext cx="7447359" cy="838"/>
          </a:xfrm>
          <a:prstGeom prst="line">
            <a:avLst/>
          </a:prstGeom>
          <a:blipFill dpi="0" rotWithShape="0">
            <a:blip r:embed="rId14"/>
            <a:srcRect/>
            <a:tile tx="0" ty="0" sx="100000" sy="100000" flip="none" algn="tl"/>
          </a:blipFill>
          <a:ln w="22225" cap="flat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8918" y="4889826"/>
            <a:ext cx="37004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80D79EA2-2E2F-44D8-88C2-62A427AF8999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800"/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098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</p:sldLayoutIdLst>
  <p:transition>
    <p:fade/>
  </p:transition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+mj-lt"/>
          <a:ea typeface="+mj-ea"/>
          <a:cs typeface="+mj-cs"/>
          <a:sym typeface="GillSans" pitchFamily="-10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pitchFamily="-10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pitchFamily="-10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pitchFamily="-10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pitchFamily="-104" charset="0"/>
        </a:defRPr>
      </a:lvl5pPr>
      <a:lvl6pPr marL="241093"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charset="0"/>
        </a:defRPr>
      </a:lvl6pPr>
      <a:lvl7pPr marL="482186"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charset="0"/>
        </a:defRPr>
      </a:lvl7pPr>
      <a:lvl8pPr marL="723279"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charset="0"/>
        </a:defRPr>
      </a:lvl8pPr>
      <a:lvl9pPr marL="964372" algn="ctr" rtl="0" eaLnBrk="1" fontAlgn="base" hangingPunct="1">
        <a:spcBef>
          <a:spcPct val="0"/>
        </a:spcBef>
        <a:spcAft>
          <a:spcPct val="0"/>
        </a:spcAft>
        <a:defRPr sz="4425">
          <a:solidFill>
            <a:schemeClr val="tx1"/>
          </a:solidFill>
          <a:latin typeface="GillSans" charset="0"/>
          <a:ea typeface="ヒラギノ角ゴ ProN W3" pitchFamily="-65" charset="-128"/>
          <a:cs typeface="ヒラギノ角ゴ ProN W3" pitchFamily="-65" charset="-128"/>
          <a:sym typeface="GillSans" charset="0"/>
        </a:defRPr>
      </a:lvl9pPr>
    </p:titleStyle>
    <p:bodyStyle>
      <a:lvl1pPr marL="180820" indent="-180820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pitchFamily="-104" charset="0"/>
        </a:defRPr>
      </a:lvl1pPr>
      <a:lvl2pPr marL="391776" indent="-150683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pitchFamily="-104" charset="0"/>
        </a:defRPr>
      </a:lvl2pPr>
      <a:lvl3pPr marL="602732" indent="-120547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pitchFamily="-104" charset="0"/>
        </a:defRPr>
      </a:lvl3pPr>
      <a:lvl4pPr marL="843826" indent="-120547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pitchFamily="-104" charset="0"/>
        </a:defRPr>
      </a:lvl4pPr>
      <a:lvl5pPr marL="1084919" indent="-120547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pitchFamily="-104" charset="0"/>
        </a:defRPr>
      </a:lvl5pPr>
      <a:lvl6pPr marL="241093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charset="0"/>
        </a:defRPr>
      </a:lvl6pPr>
      <a:lvl7pPr marL="482186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charset="0"/>
        </a:defRPr>
      </a:lvl7pPr>
      <a:lvl8pPr marL="723279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charset="0"/>
        </a:defRPr>
      </a:lvl8pPr>
      <a:lvl9pPr marL="964372" algn="ctr" rtl="0" eaLnBrk="1" fontAlgn="base" hangingPunct="1">
        <a:spcBef>
          <a:spcPct val="0"/>
        </a:spcBef>
        <a:spcAft>
          <a:spcPct val="0"/>
        </a:spcAft>
        <a:defRPr sz="1875">
          <a:solidFill>
            <a:schemeClr val="tx1"/>
          </a:solidFill>
          <a:latin typeface="+mn-lt"/>
          <a:ea typeface="+mn-ea"/>
          <a:cs typeface="+mn-cs"/>
          <a:sym typeface="GillSans" charset="0"/>
        </a:defRPr>
      </a:lvl9pPr>
    </p:bodyStyle>
    <p:otherStyle>
      <a:defPPr>
        <a:defRPr lang="en-US"/>
      </a:defPPr>
      <a:lvl1pPr marL="0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1pPr>
      <a:lvl2pPr marL="241093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482186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3pPr>
      <a:lvl4pPr marL="723279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964372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205465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6pPr>
      <a:lvl7pPr marL="1446558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7pPr>
      <a:lvl8pPr marL="1687651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8pPr>
      <a:lvl9pPr marL="1928744" algn="l" defTabSz="24109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675" y="273844"/>
            <a:ext cx="8586641" cy="555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674" y="1091381"/>
            <a:ext cx="8586642" cy="3541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C901AF6-2EEB-AF46-8B40-512A72D424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29250" y="4800649"/>
            <a:ext cx="30861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© 2023 Apps Associates LLC - Company Confidential</a:t>
            </a:r>
            <a:endParaRPr lang="en-PH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9AC6E6-A09D-1546-A02E-A1E2D94D2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372" y="4800649"/>
            <a:ext cx="25294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BC6AABBF-AE9B-4493-965C-093340ED73BB}" type="slidenum">
              <a:rPr lang="en-PH" smtClean="0"/>
              <a:pPr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135212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  <p:sldLayoutId id="2147484007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7" r:id="rId2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85750" indent="-2857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+mj-lt"/>
          <a:ea typeface="+mn-ea"/>
          <a:cs typeface="+mn-cs"/>
        </a:defRPr>
      </a:lvl1pPr>
      <a:lvl2pPr marL="628650" indent="-2857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600" kern="1200">
          <a:solidFill>
            <a:schemeClr val="accent4"/>
          </a:solidFill>
          <a:latin typeface="+mj-lt"/>
          <a:ea typeface="+mn-ea"/>
          <a:cs typeface="+mn-cs"/>
        </a:defRPr>
      </a:lvl2pPr>
      <a:lvl3pPr marL="971550" indent="-2857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accent4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200" kern="1200">
          <a:solidFill>
            <a:schemeClr val="accent4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»"/>
        <a:defRPr sz="1000" kern="1200">
          <a:solidFill>
            <a:schemeClr val="accent4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676" y="273845"/>
            <a:ext cx="8586641" cy="555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674" y="1091382"/>
            <a:ext cx="8586642" cy="3541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C901AF6-2EEB-AF46-8B40-512A72D424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29250" y="4800650"/>
            <a:ext cx="30861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9AC6E6-A09D-1546-A02E-A1E2D94D2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373" y="4800650"/>
            <a:ext cx="25294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FFE99E49-87F1-4540-B40D-30A815BDFB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099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85743" indent="-285743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+mj-lt"/>
          <a:ea typeface="+mn-ea"/>
          <a:cs typeface="+mn-cs"/>
        </a:defRPr>
      </a:lvl1pPr>
      <a:lvl2pPr marL="628634" indent="-285743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600" kern="1200">
          <a:solidFill>
            <a:schemeClr val="accent4"/>
          </a:solidFill>
          <a:latin typeface="+mj-lt"/>
          <a:ea typeface="+mn-ea"/>
          <a:cs typeface="+mn-cs"/>
        </a:defRPr>
      </a:lvl2pPr>
      <a:lvl3pPr marL="971526" indent="-285743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accent4"/>
          </a:solidFill>
          <a:latin typeface="+mj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200" kern="1200">
          <a:solidFill>
            <a:schemeClr val="accent4"/>
          </a:solidFill>
          <a:latin typeface="+mj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»"/>
        <a:defRPr sz="1000" kern="1200">
          <a:solidFill>
            <a:schemeClr val="accent4"/>
          </a:solidFill>
          <a:latin typeface="+mj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676" y="273845"/>
            <a:ext cx="8586641" cy="555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674" y="1091382"/>
            <a:ext cx="8586642" cy="3541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C901AF6-2EEB-AF46-8B40-512A72D424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29250" y="4800650"/>
            <a:ext cx="30861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457189"/>
            <a:r>
              <a:rPr lang="en-US">
                <a:solidFill>
                  <a:srgbClr val="CDD1D5">
                    <a:lumMod val="75000"/>
                  </a:srgbClr>
                </a:solidFill>
              </a:rPr>
              <a:t>© 2023 Apps Associates LLC - Company Confidential</a:t>
            </a:r>
            <a:endParaRPr lang="en-PH">
              <a:solidFill>
                <a:srgbClr val="CDD1D5">
                  <a:lumMod val="75000"/>
                </a:srgbClr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9AC6E6-A09D-1546-A02E-A1E2D94D2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373" y="4800650"/>
            <a:ext cx="25294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pPr defTabSz="457189"/>
            <a:fld id="{BC6AABBF-AE9B-4493-965C-093340ED73BB}" type="slidenum">
              <a:rPr lang="en-PH" smtClean="0">
                <a:solidFill>
                  <a:srgbClr val="1A4F72"/>
                </a:solidFill>
              </a:rPr>
              <a:pPr defTabSz="457189"/>
              <a:t>‹#›</a:t>
            </a:fld>
            <a:endParaRPr lang="en-PH">
              <a:solidFill>
                <a:srgbClr val="1A4F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979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67" r:id="rId18"/>
    <p:sldLayoutId id="2147484068" r:id="rId19"/>
    <p:sldLayoutId id="2147484069" r:id="rId20"/>
    <p:sldLayoutId id="2147484070" r:id="rId21"/>
    <p:sldLayoutId id="2147484071" r:id="rId22"/>
    <p:sldLayoutId id="2147484072" r:id="rId23"/>
    <p:sldLayoutId id="2147484073" r:id="rId24"/>
    <p:sldLayoutId id="2147484074" r:id="rId25"/>
    <p:sldLayoutId id="2147484075" r:id="rId26"/>
    <p:sldLayoutId id="2147484076" r:id="rId27"/>
    <p:sldLayoutId id="2147484077" r:id="rId28"/>
    <p:sldLayoutId id="2147484078" r:id="rId29"/>
    <p:sldLayoutId id="2147484079" r:id="rId30"/>
    <p:sldLayoutId id="2147484080" r:id="rId31"/>
    <p:sldLayoutId id="2147484081" r:id="rId32"/>
  </p:sldLayoutIdLst>
  <p:hf sldNum="0"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85743" indent="-285743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+mj-lt"/>
          <a:ea typeface="+mn-ea"/>
          <a:cs typeface="+mn-cs"/>
        </a:defRPr>
      </a:lvl1pPr>
      <a:lvl2pPr marL="628634" indent="-285743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600" kern="1200">
          <a:solidFill>
            <a:schemeClr val="accent4"/>
          </a:solidFill>
          <a:latin typeface="+mj-lt"/>
          <a:ea typeface="+mn-ea"/>
          <a:cs typeface="+mn-cs"/>
        </a:defRPr>
      </a:lvl2pPr>
      <a:lvl3pPr marL="971526" indent="-285743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accent4"/>
          </a:solidFill>
          <a:latin typeface="+mj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–"/>
        <a:defRPr sz="1200" kern="1200">
          <a:solidFill>
            <a:schemeClr val="accent4"/>
          </a:solidFill>
          <a:latin typeface="+mj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»"/>
        <a:defRPr sz="1000" kern="1200">
          <a:solidFill>
            <a:schemeClr val="accent4"/>
          </a:solidFill>
          <a:latin typeface="+mj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98943D4-01B9-4EFE-8283-6A6EC8A4B9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8006" y="793262"/>
            <a:ext cx="8732710" cy="659606"/>
          </a:xfrm>
        </p:spPr>
        <p:txBody>
          <a:bodyPr/>
          <a:lstStyle/>
          <a:p>
            <a:r>
              <a:rPr lang="en-US" dirty="0">
                <a:latin typeface="Calibri"/>
                <a:ea typeface="Calibri"/>
                <a:cs typeface="Calibri"/>
              </a:rPr>
              <a:t>Title Slid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4D9E31D-E244-427A-B41A-9337B5EA1F4D}"/>
              </a:ext>
            </a:extLst>
          </p:cNvPr>
          <p:cNvSpPr txBox="1">
            <a:spLocks/>
          </p:cNvSpPr>
          <p:nvPr/>
        </p:nvSpPr>
        <p:spPr>
          <a:xfrm>
            <a:off x="243936" y="3662810"/>
            <a:ext cx="1626955" cy="3428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en-US" dirty="0">
                <a:solidFill>
                  <a:srgbClr val="FFFFFF"/>
                </a:solidFill>
                <a:latin typeface="Calibri Light"/>
                <a:ea typeface="Calibri Light"/>
                <a:cs typeface="Calibri Light"/>
              </a:rPr>
              <a:t>Dat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4D9E31D-E244-427A-B41A-9337B5EA1F4D}"/>
              </a:ext>
            </a:extLst>
          </p:cNvPr>
          <p:cNvSpPr txBox="1">
            <a:spLocks/>
          </p:cNvSpPr>
          <p:nvPr/>
        </p:nvSpPr>
        <p:spPr>
          <a:xfrm>
            <a:off x="188006" y="1948980"/>
            <a:ext cx="5509410" cy="77800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endParaRPr lang="en-US" b="1">
              <a:solidFill>
                <a:srgbClr val="FFFFFF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3608" y="4521348"/>
            <a:ext cx="1667108" cy="52394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008F90F-6AAA-2245-45F8-F92DC5B2183F}"/>
              </a:ext>
            </a:extLst>
          </p:cNvPr>
          <p:cNvSpPr txBox="1">
            <a:spLocks/>
          </p:cNvSpPr>
          <p:nvPr/>
        </p:nvSpPr>
        <p:spPr>
          <a:xfrm>
            <a:off x="184542" y="2058974"/>
            <a:ext cx="8732710" cy="6596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 baseline="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1400" b="0" dirty="0">
                <a:latin typeface="Calibri"/>
                <a:ea typeface="Calibri"/>
                <a:cs typeface="Calibri"/>
              </a:rPr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3302319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80220" y="646562"/>
            <a:ext cx="4823003" cy="659606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80220" y="1738332"/>
            <a:ext cx="6162143" cy="2758606"/>
          </a:xfrm>
        </p:spPr>
        <p:txBody>
          <a:bodyPr>
            <a:noAutofit/>
          </a:bodyPr>
          <a:lstStyle/>
          <a:p>
            <a:r>
              <a:rPr lang="en-US" sz="1200" dirty="0">
                <a:latin typeface="Calibri"/>
                <a:ea typeface="Calibri"/>
                <a:cs typeface="Calibri"/>
              </a:rPr>
              <a:t>Indexing the PPT Items</a:t>
            </a:r>
          </a:p>
        </p:txBody>
      </p:sp>
    </p:spTree>
    <p:extLst>
      <p:ext uri="{BB962C8B-B14F-4D97-AF65-F5344CB8AC3E}">
        <p14:creationId xmlns:p14="http://schemas.microsoft.com/office/powerpoint/2010/main" val="5533435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3B04B-6148-A6FA-3207-CD6E242F1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FC10A6-0451-246A-F692-DB8A2CD66B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342900" lvl="1" indent="0">
              <a:buNone/>
            </a:pPr>
            <a:r>
              <a:rPr lang="en-US" dirty="0">
                <a:latin typeface="Calibri Light"/>
                <a:ea typeface="Calibri Light"/>
                <a:cs typeface="Calibri Light"/>
              </a:rPr>
              <a:t>Content / Screenshots as needed</a:t>
            </a:r>
            <a:endParaRPr lang="en-US" dirty="0">
              <a:ea typeface="Calibri Light" panose="020F03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AE6BCF-0498-3C8B-56CD-4759463FC4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5 Apps Associates LLC - Company Confidential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803012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49761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theme/theme1.xml><?xml version="1.0" encoding="utf-8"?>
<a:theme xmlns:a="http://schemas.openxmlformats.org/drawingml/2006/main" name="1_Apps Associates Overview - New Template">
  <a:themeElements>
    <a:clrScheme name="Apps Associates">
      <a:dk1>
        <a:srgbClr val="0077C4"/>
      </a:dk1>
      <a:lt1>
        <a:srgbClr val="FFFFFF"/>
      </a:lt1>
      <a:dk2>
        <a:srgbClr val="CDD1D5"/>
      </a:dk2>
      <a:lt2>
        <a:srgbClr val="FFFFFF"/>
      </a:lt2>
      <a:accent1>
        <a:srgbClr val="BB0F29"/>
      </a:accent1>
      <a:accent2>
        <a:srgbClr val="0077C4"/>
      </a:accent2>
      <a:accent3>
        <a:srgbClr val="1A4F72"/>
      </a:accent3>
      <a:accent4>
        <a:srgbClr val="20303E"/>
      </a:accent4>
      <a:accent5>
        <a:srgbClr val="6EACDC"/>
      </a:accent5>
      <a:accent6>
        <a:srgbClr val="6F91A8"/>
      </a:accent6>
      <a:hlink>
        <a:srgbClr val="0077C4"/>
      </a:hlink>
      <a:folHlink>
        <a:srgbClr val="80828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ps Associates Overview - New Template" id="{44A84994-7545-43A3-9EF9-46FDBA389900}" vid="{D8A8459D-8AEF-4AA3-AB1C-45FFDF25527B}"/>
    </a:ext>
  </a:extLst>
</a:theme>
</file>

<file path=ppt/theme/theme2.xml><?xml version="1.0" encoding="utf-8"?>
<a:theme xmlns:a="http://schemas.openxmlformats.org/drawingml/2006/main" name="6_Apps Associates Overview - New Template">
  <a:themeElements>
    <a:clrScheme name="Apps Associates">
      <a:dk1>
        <a:srgbClr val="0077C4"/>
      </a:dk1>
      <a:lt1>
        <a:srgbClr val="FFFFFF"/>
      </a:lt1>
      <a:dk2>
        <a:srgbClr val="CDD1D5"/>
      </a:dk2>
      <a:lt2>
        <a:srgbClr val="FFFFFF"/>
      </a:lt2>
      <a:accent1>
        <a:srgbClr val="BB0F29"/>
      </a:accent1>
      <a:accent2>
        <a:srgbClr val="0077C4"/>
      </a:accent2>
      <a:accent3>
        <a:srgbClr val="1A4F72"/>
      </a:accent3>
      <a:accent4>
        <a:srgbClr val="20303E"/>
      </a:accent4>
      <a:accent5>
        <a:srgbClr val="6EACDC"/>
      </a:accent5>
      <a:accent6>
        <a:srgbClr val="6F91A8"/>
      </a:accent6>
      <a:hlink>
        <a:srgbClr val="0077C4"/>
      </a:hlink>
      <a:folHlink>
        <a:srgbClr val="80828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ps Associates Overview - New Template" id="{44A84994-7545-43A3-9EF9-46FDBA389900}" vid="{D8A8459D-8AEF-4AA3-AB1C-45FFDF25527B}"/>
    </a:ext>
  </a:extLst>
</a:theme>
</file>

<file path=ppt/theme/theme3.xml><?xml version="1.0" encoding="utf-8"?>
<a:theme xmlns:a="http://schemas.openxmlformats.org/drawingml/2006/main" name="Title &amp; Subtitle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BBE0E3"/>
      </a:accent1>
      <a:accent2>
        <a:srgbClr val="333399"/>
      </a:accent2>
      <a:accent3>
        <a:srgbClr val="0070C0"/>
      </a:accent3>
      <a:accent4>
        <a:srgbClr val="002060"/>
      </a:accent4>
      <a:accent5>
        <a:srgbClr val="71BEC4"/>
      </a:accent5>
      <a:accent6>
        <a:srgbClr val="00B0F0"/>
      </a:accent6>
      <a:hlink>
        <a:srgbClr val="009999"/>
      </a:hlink>
      <a:folHlink>
        <a:srgbClr val="99CC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anded Edge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7779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7030A0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  <a:ea typeface="ヒラギノ角ゴ ProN W3" pitchFamily="-65" charset="-128"/>
            <a:cs typeface="ヒラギノ角ゴ ProN W3" pitchFamily="-65" charset="-128"/>
            <a:sym typeface="Gill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Sans" charset="0"/>
            <a:ea typeface="ヒラギノ角ゴ ProN W3" pitchFamily="-65" charset="-128"/>
            <a:cs typeface="ヒラギノ角ゴ ProN W3" pitchFamily="-65" charset="-128"/>
            <a:sym typeface="Gill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Apps Associates Overview - New Template">
  <a:themeElements>
    <a:clrScheme name="Apps Associates">
      <a:dk1>
        <a:srgbClr val="0077C4"/>
      </a:dk1>
      <a:lt1>
        <a:srgbClr val="FFFFFF"/>
      </a:lt1>
      <a:dk2>
        <a:srgbClr val="CDD1D5"/>
      </a:dk2>
      <a:lt2>
        <a:srgbClr val="FFFFFF"/>
      </a:lt2>
      <a:accent1>
        <a:srgbClr val="BB0F29"/>
      </a:accent1>
      <a:accent2>
        <a:srgbClr val="0077C4"/>
      </a:accent2>
      <a:accent3>
        <a:srgbClr val="1A4F72"/>
      </a:accent3>
      <a:accent4>
        <a:srgbClr val="20303E"/>
      </a:accent4>
      <a:accent5>
        <a:srgbClr val="6EACDC"/>
      </a:accent5>
      <a:accent6>
        <a:srgbClr val="6F91A8"/>
      </a:accent6>
      <a:hlink>
        <a:srgbClr val="0077C4"/>
      </a:hlink>
      <a:folHlink>
        <a:srgbClr val="80828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ps Associates Overview - New Template" id="{44A84994-7545-43A3-9EF9-46FDBA389900}" vid="{D8A8459D-8AEF-4AA3-AB1C-45FFDF25527B}"/>
    </a:ext>
  </a:extLst>
</a:theme>
</file>

<file path=ppt/theme/theme5.xml><?xml version="1.0" encoding="utf-8"?>
<a:theme xmlns:a="http://schemas.openxmlformats.org/drawingml/2006/main" name="9_Apps Associates Overview - New Template">
  <a:themeElements>
    <a:clrScheme name="Apps Associates">
      <a:dk1>
        <a:srgbClr val="0077C4"/>
      </a:dk1>
      <a:lt1>
        <a:srgbClr val="FFFFFF"/>
      </a:lt1>
      <a:dk2>
        <a:srgbClr val="CDD1D5"/>
      </a:dk2>
      <a:lt2>
        <a:srgbClr val="FFFFFF"/>
      </a:lt2>
      <a:accent1>
        <a:srgbClr val="BB0F29"/>
      </a:accent1>
      <a:accent2>
        <a:srgbClr val="0077C4"/>
      </a:accent2>
      <a:accent3>
        <a:srgbClr val="1A4F72"/>
      </a:accent3>
      <a:accent4>
        <a:srgbClr val="20303E"/>
      </a:accent4>
      <a:accent5>
        <a:srgbClr val="6EACDC"/>
      </a:accent5>
      <a:accent6>
        <a:srgbClr val="6F91A8"/>
      </a:accent6>
      <a:hlink>
        <a:srgbClr val="0077C4"/>
      </a:hlink>
      <a:folHlink>
        <a:srgbClr val="80828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ps Associates Overview - New Template" id="{44A84994-7545-43A3-9EF9-46FDBA389900}" vid="{D8A8459D-8AEF-4AA3-AB1C-45FFDF25527B}"/>
    </a:ext>
  </a:extLst>
</a:theme>
</file>

<file path=ppt/theme/theme6.xml><?xml version="1.0" encoding="utf-8"?>
<a:theme xmlns:a="http://schemas.openxmlformats.org/drawingml/2006/main" name="2_Apps Associates Overview - New Template">
  <a:themeElements>
    <a:clrScheme name="Apps Associates">
      <a:dk1>
        <a:srgbClr val="0077C4"/>
      </a:dk1>
      <a:lt1>
        <a:srgbClr val="FFFFFF"/>
      </a:lt1>
      <a:dk2>
        <a:srgbClr val="CDD1D5"/>
      </a:dk2>
      <a:lt2>
        <a:srgbClr val="FFFFFF"/>
      </a:lt2>
      <a:accent1>
        <a:srgbClr val="BB0F29"/>
      </a:accent1>
      <a:accent2>
        <a:srgbClr val="0077C4"/>
      </a:accent2>
      <a:accent3>
        <a:srgbClr val="1A4F72"/>
      </a:accent3>
      <a:accent4>
        <a:srgbClr val="20303E"/>
      </a:accent4>
      <a:accent5>
        <a:srgbClr val="6EACDC"/>
      </a:accent5>
      <a:accent6>
        <a:srgbClr val="6F91A8"/>
      </a:accent6>
      <a:hlink>
        <a:srgbClr val="0077C4"/>
      </a:hlink>
      <a:folHlink>
        <a:srgbClr val="80828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ps Associates Overview - New Template" id="{44A84994-7545-43A3-9EF9-46FDBA389900}" vid="{D8A8459D-8AEF-4AA3-AB1C-45FFDF25527B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vanyaDoodi xmlns="a7f86f3a-dddf-4921-acda-f750d001336b">
      <UserInfo>
        <DisplayName/>
        <AccountId xsi:nil="true"/>
        <AccountType/>
      </UserInfo>
    </LavanyaDoodi>
    <LinkedLocation xmlns="a7f86f3a-dddf-4921-acda-f750d001336b">
      <Url xsi:nil="true"/>
      <Description xsi:nil="true"/>
    </LinkedLocation>
    <UniqueSourceRef xmlns="a7f86f3a-dddf-4921-acda-f750d001336b" xsi:nil="true"/>
    <TaxCatchAll xmlns="b243967e-2b57-4575-a8fd-05a8658aee78" xsi:nil="true"/>
    <SalesforceAccountID xmlns="a7f86f3a-dddf-4921-acda-f750d001336b" xsi:nil="true"/>
    <OpportunityID xmlns="a7f86f3a-dddf-4921-acda-f750d001336b" xsi:nil="true"/>
    <LocationofOriginalRiskReview xmlns="a7f86f3a-dddf-4921-acda-f750d001336b">
      <Url xsi:nil="true"/>
      <Description xsi:nil="true"/>
    </LocationofOriginalRiskReview>
    <Comments xmlns="a7f86f3a-dddf-4921-acda-f750d001336b" xsi:nil="true"/>
    <JamesMcDaniel xmlns="a7f86f3a-dddf-4921-acda-f750d001336b">
      <UserInfo>
        <DisplayName/>
        <AccountId xsi:nil="true"/>
        <AccountType/>
      </UserInfo>
    </JamesMcDaniel>
    <CloudMigratorVersion xmlns="a7f86f3a-dddf-4921-acda-f750d001336b" xsi:nil="true"/>
    <Notes xmlns="a7f86f3a-dddf-4921-acda-f750d001336b" xsi:nil="true"/>
    <RiskRating xmlns="a7f86f3a-dddf-4921-acda-f750d001336b" xsi:nil="true"/>
    <AuthoredBy xmlns="a7f86f3a-dddf-4921-acda-f750d001336b">
      <UserInfo>
        <DisplayName/>
        <AccountId xsi:nil="true"/>
        <AccountType/>
      </UserInfo>
    </AuthoredBy>
    <updateddeck xmlns="a7f86f3a-dddf-4921-acda-f750d001336b" xsi:nil="true"/>
    <lcf76f155ced4ddcb4097134ff3c332f xmlns="a7f86f3a-dddf-4921-acda-f750d001336b">
      <Terms xmlns="http://schemas.microsoft.com/office/infopath/2007/PartnerControls"/>
    </lcf76f155ced4ddcb4097134ff3c332f>
    <ReviewFrequency xmlns="a7f86f3a-dddf-4921-acda-f750d001336b" xsi:nil="true"/>
    <FileHash xmlns="a7f86f3a-dddf-4921-acda-f750d001336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FCEC5F59E1114CBC2F960D99AEBDEA" ma:contentTypeVersion="43" ma:contentTypeDescription="Create a new document." ma:contentTypeScope="" ma:versionID="000cfaa6c1fde24fc4168db577ff9c7a">
  <xsd:schema xmlns:xsd="http://www.w3.org/2001/XMLSchema" xmlns:xs="http://www.w3.org/2001/XMLSchema" xmlns:p="http://schemas.microsoft.com/office/2006/metadata/properties" xmlns:ns2="a7f86f3a-dddf-4921-acda-f750d001336b" xmlns:ns3="b243967e-2b57-4575-a8fd-05a8658aee78" targetNamespace="http://schemas.microsoft.com/office/2006/metadata/properties" ma:root="true" ma:fieldsID="d66371229cce7a9b4d7e403ce65e99ec" ns2:_="" ns3:_="">
    <xsd:import namespace="a7f86f3a-dddf-4921-acda-f750d001336b"/>
    <xsd:import namespace="b243967e-2b57-4575-a8fd-05a8658aee78"/>
    <xsd:element name="properties">
      <xsd:complexType>
        <xsd:sequence>
          <xsd:element name="documentManagement">
            <xsd:complexType>
              <xsd:all>
                <xsd:element ref="ns2:ReviewFrequency" minOccurs="0"/>
                <xsd:element ref="ns2:RiskRating" minOccurs="0"/>
                <xsd:element ref="ns2:LocationofOriginalRiskReview" minOccurs="0"/>
                <xsd:element ref="ns2:UniqueSourceRef" minOccurs="0"/>
                <xsd:element ref="ns2:FileHash" minOccurs="0"/>
                <xsd:element ref="ns2:CloudMigratorVersion" minOccurs="0"/>
                <xsd:element ref="ns2:LavanyaDoodi" minOccurs="0"/>
                <xsd:element ref="ns2:updateddeck" minOccurs="0"/>
                <xsd:element ref="ns2:Comments" minOccurs="0"/>
                <xsd:element ref="ns2:SharedWithUsers" minOccurs="0"/>
                <xsd:element ref="ns2:SharedWithDetails" minOccurs="0"/>
                <xsd:element ref="ns2:SharingHintHash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JamesMcDaniel" minOccurs="0"/>
                <xsd:element ref="ns2:Note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SalesforceAccountID" minOccurs="0"/>
                <xsd:element ref="ns2:OpportunityID" minOccurs="0"/>
                <xsd:element ref="ns2:LinkedLocation" minOccurs="0"/>
                <xsd:element ref="ns2:MediaServiceObjectDetectorVersions" minOccurs="0"/>
                <xsd:element ref="ns2:MediaServiceSearchProperties" minOccurs="0"/>
                <xsd:element ref="ns2:AuthoredBy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86f3a-dddf-4921-acda-f750d001336b" elementFormDefault="qualified">
    <xsd:import namespace="http://schemas.microsoft.com/office/2006/documentManagement/types"/>
    <xsd:import namespace="http://schemas.microsoft.com/office/infopath/2007/PartnerControls"/>
    <xsd:element name="ReviewFrequency" ma:index="1" nillable="true" ma:displayName="Review Frequency" ma:format="Dropdown" ma:internalName="ReviewFrequency">
      <xsd:simpleType>
        <xsd:restriction base="dms:Text">
          <xsd:maxLength value="255"/>
        </xsd:restriction>
      </xsd:simpleType>
    </xsd:element>
    <xsd:element name="RiskRating" ma:index="2" nillable="true" ma:displayName="Risk Rating" ma:format="Dropdown" ma:internalName="RiskRating">
      <xsd:simpleType>
        <xsd:restriction base="dms:Choice">
          <xsd:enumeration value="Low"/>
          <xsd:enumeration value="Medium"/>
          <xsd:enumeration value="High"/>
        </xsd:restriction>
      </xsd:simpleType>
    </xsd:element>
    <xsd:element name="LocationofOriginalRiskReview" ma:index="3" nillable="true" ma:displayName="Location of Original Risk Review" ma:format="Hyperlink" ma:internalName="LocationofOriginalRiskRevie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UniqueSourceRef" ma:index="5" nillable="true" ma:displayName="UniqueSourceRef" ma:internalName="UniqueSourceRef">
      <xsd:simpleType>
        <xsd:restriction base="dms:Note">
          <xsd:maxLength value="255"/>
        </xsd:restriction>
      </xsd:simpleType>
    </xsd:element>
    <xsd:element name="FileHash" ma:index="6" nillable="true" ma:displayName="FileHash" ma:internalName="FileHash">
      <xsd:simpleType>
        <xsd:restriction base="dms:Note">
          <xsd:maxLength value="255"/>
        </xsd:restriction>
      </xsd:simpleType>
    </xsd:element>
    <xsd:element name="CloudMigratorVersion" ma:index="7" nillable="true" ma:displayName="CloudMigratorVersion" ma:internalName="CloudMigratorVersion">
      <xsd:simpleType>
        <xsd:restriction base="dms:Note">
          <xsd:maxLength value="255"/>
        </xsd:restriction>
      </xsd:simpleType>
    </xsd:element>
    <xsd:element name="LavanyaDoodi" ma:index="8" nillable="true" ma:displayName="Lavanya Doodi" ma:format="Dropdown" ma:list="UserInfo" ma:SharePointGroup="0" ma:internalName="LavanyaDoodi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pdateddeck" ma:index="9" nillable="true" ma:displayName="updated deck" ma:description="updated deck" ma:format="Dropdown" ma:internalName="updateddeck">
      <xsd:simpleType>
        <xsd:restriction base="dms:Text">
          <xsd:maxLength value="255"/>
        </xsd:restriction>
      </xsd:simpleType>
    </xsd:element>
    <xsd:element name="Comments" ma:index="10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description="" ma:hidden="true" ma:internalName="SharingHintHash" ma:readOnly="true">
      <xsd:simpleType>
        <xsd:restriction base="dms:Text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JamesMcDaniel" ma:index="30" nillable="true" ma:displayName="James McDaniel" ma:format="Dropdown" ma:list="UserInfo" ma:SharePointGroup="0" ma:internalName="JamesMcDaniel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Notes" ma:index="31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LengthInSeconds" ma:index="3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34" nillable="true" ma:taxonomy="true" ma:internalName="lcf76f155ced4ddcb4097134ff3c332f" ma:taxonomyFieldName="MediaServiceImageTags" ma:displayName="Image Tags" ma:readOnly="false" ma:fieldId="{5cf76f15-5ced-4ddc-b409-7134ff3c332f}" ma:taxonomyMulti="true" ma:sspId="6faacfac-37f5-4248-b1ed-d403b1be2e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SalesforceAccountID" ma:index="36" nillable="true" ma:displayName="SalesforceAccountID" ma:indexed="true" ma:internalName="SalesforceAccountID">
      <xsd:simpleType>
        <xsd:restriction base="dms:Text">
          <xsd:maxLength value="255"/>
        </xsd:restriction>
      </xsd:simpleType>
    </xsd:element>
    <xsd:element name="OpportunityID" ma:index="37" nillable="true" ma:displayName="OpportunityID" ma:indexed="true" ma:internalName="OpportunityID">
      <xsd:simpleType>
        <xsd:restriction base="dms:Text">
          <xsd:maxLength value="255"/>
        </xsd:restriction>
      </xsd:simpleType>
    </xsd:element>
    <xsd:element name="LinkedLocation" ma:index="38" nillable="true" ma:displayName="Linked Location" ma:format="Hyperlink" ma:internalName="LinkedLocation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ObjectDetectorVersions" ma:index="3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4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uthoredBy" ma:index="41" nillable="true" ma:displayName="AuthoredBy" ma:format="Dropdown" ma:list="UserInfo" ma:SharePointGroup="0" ma:internalName="Author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BillingMetadata" ma:index="4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43967e-2b57-4575-a8fd-05a8658aee78" elementFormDefault="qualified">
    <xsd:import namespace="http://schemas.microsoft.com/office/2006/documentManagement/types"/>
    <xsd:import namespace="http://schemas.microsoft.com/office/infopath/2007/PartnerControls"/>
    <xsd:element name="TaxCatchAll" ma:index="35" nillable="true" ma:displayName="Taxonomy Catch All Column" ma:hidden="true" ma:list="{21b2f247-5e2d-43e4-81b7-7d050444433a}" ma:internalName="TaxCatchAll" ma:showField="CatchAllData" ma:web="b243967e-2b57-4575-a8fd-05a8658aee7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7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9E2DC0-6C7D-4AD8-A9A9-508C76FD32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7F0A143-8C9B-4AEE-8CDE-466138DAFC53}">
  <ds:schemaRefs>
    <ds:schemaRef ds:uri="a7f86f3a-dddf-4921-acda-f750d001336b"/>
    <ds:schemaRef ds:uri="b243967e-2b57-4575-a8fd-05a8658aee7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BAD5AC1-3F5C-495E-8446-7277642D5A7C}">
  <ds:schemaRefs>
    <ds:schemaRef ds:uri="a7f86f3a-dddf-4921-acda-f750d001336b"/>
    <ds:schemaRef ds:uri="b243967e-2b57-4575-a8fd-05a8658aee7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28</Words>
  <Application>Microsoft Office PowerPoint</Application>
  <PresentationFormat>On-screen Show (16:9)</PresentationFormat>
  <Paragraphs>12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Calibri</vt:lpstr>
      <vt:lpstr>Calibri Light</vt:lpstr>
      <vt:lpstr>Courier New</vt:lpstr>
      <vt:lpstr>GillSans</vt:lpstr>
      <vt:lpstr>1_Apps Associates Overview - New Template</vt:lpstr>
      <vt:lpstr>6_Apps Associates Overview - New Template</vt:lpstr>
      <vt:lpstr>Title &amp; Subtitle</vt:lpstr>
      <vt:lpstr>3_Apps Associates Overview - New Template</vt:lpstr>
      <vt:lpstr>9_Apps Associates Overview - New Template</vt:lpstr>
      <vt:lpstr>2_Apps Associates Overview - New Template</vt:lpstr>
      <vt:lpstr>think-cell Slide</vt:lpstr>
      <vt:lpstr>Title Slide</vt:lpstr>
      <vt:lpstr>Agenda</vt:lpstr>
      <vt:lpstr>Heading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Overview</dc:title>
  <dc:creator>pranuthi.banathi@appsassociates.com</dc:creator>
  <cp:lastModifiedBy>Nistala, Vamsi</cp:lastModifiedBy>
  <cp:revision>3</cp:revision>
  <dcterms:created xsi:type="dcterms:W3CDTF">2016-07-13T09:10:41Z</dcterms:created>
  <dcterms:modified xsi:type="dcterms:W3CDTF">2025-12-10T18:4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FCEC5F59E1114CBC2F960D99AEBDEA</vt:lpwstr>
  </property>
  <property fmtid="{D5CDD505-2E9C-101B-9397-08002B2CF9AE}" pid="3" name="MediaServiceImageTags">
    <vt:lpwstr/>
  </property>
</Properties>
</file>